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tags/tag75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tags/tag594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64.xml" ContentType="application/vnd.openxmlformats-officedocument.presentationml.tags+xml"/>
  <Override PartName="/ppt/tags/tag711.xml" ContentType="application/vnd.openxmlformats-officedocument.presentationml.tags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tags/tag695.xml" ContentType="application/vnd.openxmlformats-officedocument.presentationml.tags+xml"/>
  <Override PartName="/ppt/tags/tag279.xml" ContentType="application/vnd.openxmlformats-officedocument.presentationml.tags+xml"/>
  <Override PartName="/ppt/tags/tag626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tags/tag749.xml" ContentType="application/vnd.openxmlformats-officedocument.presentationml.tags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651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tags/tag235.xml" ContentType="application/vnd.openxmlformats-officedocument.presentationml.tags+xml"/>
  <Override PartName="/ppt/tags/tag282.xml" ContentType="application/vnd.openxmlformats-officedocument.presentationml.tags+xml"/>
  <Default Extension="emf" ContentType="image/x-emf"/>
  <Override PartName="/ppt/tags/tag421.xml" ContentType="application/vnd.openxmlformats-officedocument.presentationml.tags+xml"/>
  <Override PartName="/ppt/tags/tag519.xml" ContentType="application/vnd.openxmlformats-officedocument.presentationml.tags+xml"/>
  <Override PartName="/ppt/tags/tag566.xml" ContentType="application/vnd.openxmlformats-officedocument.presentationml.tags+xml"/>
  <Override PartName="/ppt/tags/tag705.xml" ContentType="application/vnd.openxmlformats-officedocument.presentationml.tags+xml"/>
  <Override PartName="/ppt/tags/tag752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591.xml" ContentType="application/vnd.openxmlformats-officedocument.presentationml.tags+xml"/>
  <Override PartName="/ppt/tags/tag689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667.xml" ContentType="application/vnd.openxmlformats-officedocument.presentationml.tags+xml"/>
  <Override PartName="/ppt/tags/tag730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522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tags/tag692.xml" ContentType="application/vnd.openxmlformats-officedocument.presentationml.tags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tags/tag623.xml" ContentType="application/vnd.openxmlformats-officedocument.presentationml.tags+xml"/>
  <Override PartName="/ppt/tags/tag67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tags/tag746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538.xml" ContentType="application/vnd.openxmlformats-officedocument.presentationml.tags+xml"/>
  <Override PartName="/ppt/tags/tag585.xml" ContentType="application/vnd.openxmlformats-officedocument.presentationml.tags+xml"/>
  <Override PartName="/ppt/tags/tag724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16.xml" ContentType="application/vnd.openxmlformats-officedocument.presentationml.tags+xml"/>
  <Override PartName="/ppt/tags/tag563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639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541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tags/tag66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notesSlides/notesSlide1.xml" ContentType="application/vnd.openxmlformats-officedocument.presentationml.notesSlide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579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tags/tag620.xml" ContentType="application/vnd.openxmlformats-officedocument.presentationml.tags+xml"/>
  <Override PartName="/ppt/tags/tag718.xml" ContentType="application/vnd.openxmlformats-officedocument.presentationml.tags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tags/tag743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535.xml" ContentType="application/vnd.openxmlformats-officedocument.presentationml.tags+xml"/>
  <Override PartName="/ppt/tags/tag582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658.xml" ContentType="application/vnd.openxmlformats-officedocument.presentationml.tags+xml"/>
  <Override PartName="/ppt/tags/tag721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60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636.xml" ContentType="application/vnd.openxmlformats-officedocument.presentationml.tags+xml"/>
  <Override PartName="/ppt/tags/tag683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614.xml" ContentType="application/vnd.openxmlformats-officedocument.presentationml.tags+xml"/>
  <Override PartName="/ppt/tags/tag661.xml" ContentType="application/vnd.openxmlformats-officedocument.presentationml.tags+xml"/>
  <Override PartName="/ppt/tags/tag759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3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576.xml" ContentType="application/vnd.openxmlformats-officedocument.presentationml.tags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715.xml" ContentType="application/vnd.openxmlformats-officedocument.presentationml.tags+xml"/>
  <Override PartName="/ppt/tags/tag762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532.xml" ContentType="application/vnd.openxmlformats-officedocument.presentationml.tags+xml"/>
  <Override PartName="/ppt/tags/tag677.xml" ContentType="application/vnd.openxmlformats-officedocument.presentationml.tags+xml"/>
  <Override PartName="/ppt/tags/tag740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608.xml" ContentType="application/vnd.openxmlformats-officedocument.presentationml.tags+xml"/>
  <Override PartName="/ppt/tags/tag655.xml" ContentType="application/vnd.openxmlformats-officedocument.presentationml.tags+xml"/>
  <Override PartName="/ppt/tags/tag9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tags/tag633.xml" ContentType="application/vnd.openxmlformats-officedocument.presentationml.tags+xml"/>
  <Override PartName="/ppt/tags/tag680.xml" ContentType="application/vnd.openxmlformats-officedocument.presentationml.tags+xml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tags/tag756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548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734.xml" ContentType="application/vnd.openxmlformats-officedocument.presentationml.tags+xml"/>
  <Override PartName="/ppt/tags/tag179.xml" ContentType="application/vnd.openxmlformats-officedocument.presentationml.tags+xml"/>
  <Override PartName="/ppt/tags/tag242.xml" ContentType="application/vnd.openxmlformats-officedocument.presentationml.tags+xml"/>
  <Override PartName="/ppt/tags/tag526.xml" ContentType="application/vnd.openxmlformats-officedocument.presentationml.tags+xml"/>
  <Override PartName="/ppt/tags/tag573.xml" ContentType="application/vnd.openxmlformats-officedocument.presentationml.tags+xml"/>
  <Override PartName="/ppt/tags/tag71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504.xml" ContentType="application/vnd.openxmlformats-officedocument.presentationml.tags+xml"/>
  <Override PartName="/ppt/tags/tag551.xml" ContentType="application/vnd.openxmlformats-officedocument.presentationml.tags+xml"/>
  <Override PartName="/ppt/tags/tag649.xml" ContentType="application/vnd.openxmlformats-officedocument.presentationml.tags+xml"/>
  <Override PartName="/ppt/tags/tag696.xml" ContentType="application/vnd.openxmlformats-officedocument.presentationml.tags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tags/tag627.xml" ContentType="application/vnd.openxmlformats-officedocument.presentationml.tags+xml"/>
  <Override PartName="/ppt/tags/tag674.xml" ContentType="application/vnd.openxmlformats-officedocument.presentationml.tags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ags/tag466.xml" ContentType="application/vnd.openxmlformats-officedocument.presentationml.tags+xml"/>
  <Override PartName="/ppt/tags/tag605.xml" ContentType="application/vnd.openxmlformats-officedocument.presentationml.tags+xml"/>
  <Override PartName="/ppt/tags/tag652.xml" ContentType="application/vnd.openxmlformats-officedocument.presentationml.tags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tags/tag589.xml" ContentType="application/vnd.openxmlformats-officedocument.presentationml.tags+xml"/>
  <Override PartName="/ppt/tags/tag728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67.xml" ContentType="application/vnd.openxmlformats-officedocument.presentationml.tags+xml"/>
  <Override PartName="/ppt/tags/tag630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tags/tag706.xml" ContentType="application/vnd.openxmlformats-officedocument.presentationml.tags+xml"/>
  <Override PartName="/ppt/tags/tag753.xml" ContentType="application/vnd.openxmlformats-officedocument.presentationml.tags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592.xml" ContentType="application/vnd.openxmlformats-officedocument.presentationml.tags+xml"/>
  <Override PartName="/ppt/tags/tag731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523.xml" ContentType="application/vnd.openxmlformats-officedocument.presentationml.tags+xml"/>
  <Override PartName="/ppt/tags/tag570.xml" ContentType="application/vnd.openxmlformats-officedocument.presentationml.tags+xml"/>
  <Override PartName="/ppt/tags/tag668.xml" ContentType="application/vnd.openxmlformats-officedocument.presentationml.tag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tags/tag646.xml" ContentType="application/vnd.openxmlformats-officedocument.presentationml.tags+xml"/>
  <Override PartName="/ppt/tags/tag693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38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tags/tag624.xml" ContentType="application/vnd.openxmlformats-officedocument.presentationml.tags+xml"/>
  <Override PartName="/ppt/tags/tag671.xml" ContentType="application/vnd.openxmlformats-officedocument.presentationml.tags+xml"/>
  <Override PartName="/ppt/tags/tag132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tags/tag747.xml" ContentType="application/vnd.openxmlformats-officedocument.presentationml.tag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539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tags/tag441.xml" ContentType="application/vnd.openxmlformats-officedocument.presentationml.tags+xml"/>
  <Override PartName="/ppt/tags/tag725.xml" ContentType="application/vnd.openxmlformats-officedocument.presentationml.tags+xml"/>
  <Override PartName="/ppt/tags/tag517.xml" ContentType="application/vnd.openxmlformats-officedocument.presentationml.tags+xml"/>
  <Override PartName="/ppt/tags/tag564.xml" ContentType="application/vnd.openxmlformats-officedocument.presentationml.tags+xml"/>
  <Override PartName="/ppt/tags/tag703.xml" ContentType="application/vnd.openxmlformats-officedocument.presentationml.tags+xml"/>
  <Override PartName="/ppt/tags/tag750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618.xml" ContentType="application/vnd.openxmlformats-officedocument.presentationml.tags+xml"/>
  <Override PartName="/ppt/tags/tag665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457.xml" ContentType="application/vnd.openxmlformats-officedocument.presentationml.tags+xml"/>
  <Override PartName="/ppt/tags/tag52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tags/tag643.xml" ContentType="application/vnd.openxmlformats-officedocument.presentationml.tags+xml"/>
  <Override PartName="/ppt/tags/tag690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621.xml" ContentType="application/vnd.openxmlformats-officedocument.presentationml.tags+xml"/>
  <Override PartName="/ppt/tags/tag719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tags/tag744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ags/tag583.xml" ContentType="application/vnd.openxmlformats-officedocument.presentationml.tags+xml"/>
  <Override PartName="/ppt/tags/tag722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659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37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tags/tag662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tags/tag738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716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tags/tag678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tags/tag656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634.xml" ContentType="application/vnd.openxmlformats-officedocument.presentationml.tags+xml"/>
  <Override PartName="/ppt/tags/tag681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tags/tag612.xml" ContentType="application/vnd.openxmlformats-officedocument.presentationml.tags+xml"/>
  <Override PartName="/ppt/tags/tag757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tags/tag735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Default Extension="wmf" ContentType="image/x-wmf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tags/tag760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28.xml" ContentType="application/vnd.openxmlformats-officedocument.presentationml.tags+xml"/>
  <Override PartName="/ppt/tags/tag675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tags/tag653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631.xml" ContentType="application/vnd.openxmlformats-officedocument.presentationml.tags+xml"/>
  <Override PartName="/ppt/tags/tag729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707.xml" ContentType="application/vnd.openxmlformats-officedocument.presentationml.tags+xml"/>
  <Override PartName="/ppt/tags/tag75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669.xml" ContentType="application/vnd.openxmlformats-officedocument.presentationml.tags+xml"/>
  <Override PartName="/ppt/tags/tag732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71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tags/tag694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625.xml" ContentType="application/vnd.openxmlformats-officedocument.presentationml.tags+xml"/>
  <Override PartName="/ppt/tags/tag67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tags/tag603.xml" ContentType="application/vnd.openxmlformats-officedocument.presentationml.tags+xml"/>
  <Override PartName="/ppt/tags/tag650.xml" ContentType="application/vnd.openxmlformats-officedocument.presentationml.tags+xml"/>
  <Override PartName="/ppt/tags/tag748.xml" ContentType="application/vnd.openxmlformats-officedocument.presentationml.tags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tags/tag726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tags/tag751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619.xml" ContentType="application/vnd.openxmlformats-officedocument.presentationml.tags+xml"/>
  <Override PartName="/ppt/tags/tag666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tags/tag691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tags/tag622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tags/tag745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723.xml" ContentType="application/vnd.openxmlformats-officedocument.presentationml.tags+xml"/>
  <Override PartName="/ppt/tags/tag168.xml" ContentType="application/vnd.openxmlformats-officedocument.presentationml.tags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Override PartName="/ppt/tags/tag701.xml" ContentType="application/vnd.openxmlformats-officedocument.presentationml.tags+xml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tags/tag638.xml" ContentType="application/vnd.openxmlformats-officedocument.presentationml.tags+xml"/>
  <Override PartName="/ppt/tags/tag685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616.xml" ContentType="application/vnd.openxmlformats-officedocument.presentationml.tags+xml"/>
  <Override PartName="/ppt/tags/tag663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tags/tag73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tags/tag641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679.xml" ContentType="application/vnd.openxmlformats-officedocument.presentationml.tags+xml"/>
  <Override PartName="/ppt/tags/tag74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tags/tag720.xml" ContentType="application/vnd.openxmlformats-officedocument.presentationml.tags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635.xml" ContentType="application/vnd.openxmlformats-officedocument.presentationml.tags+xml"/>
  <Override PartName="/ppt/tags/tag682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758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tags/tag66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21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736.xml" ContentType="application/vnd.openxmlformats-officedocument.presentationml.tags+xml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tags/tag291.xml" ContentType="application/vnd.openxmlformats-officedocument.presentationml.tags+xml"/>
  <Default Extension="jpeg" ContentType="image/jpeg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714.xml" ContentType="application/vnd.openxmlformats-officedocument.presentationml.tags+xml"/>
  <Override PartName="/ppt/tags/tag76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531.xml" ContentType="application/vnd.openxmlformats-officedocument.presentationml.tags+xml"/>
  <Override PartName="/ppt/tags/tag629.xml" ContentType="application/vnd.openxmlformats-officedocument.presentationml.tags+xml"/>
  <Override PartName="/ppt/tags/tag676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ags/tag607.xml" ContentType="application/vnd.openxmlformats-officedocument.presentationml.tags+xml"/>
  <Override PartName="/ppt/tags/tag654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tags/tag67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69" r:id="rId2"/>
    <p:sldId id="257" r:id="rId3"/>
    <p:sldId id="256" r:id="rId4"/>
    <p:sldId id="258" r:id="rId5"/>
    <p:sldId id="259" r:id="rId6"/>
    <p:sldId id="262" r:id="rId7"/>
    <p:sldId id="271" r:id="rId8"/>
    <p:sldId id="270" r:id="rId9"/>
    <p:sldId id="261" r:id="rId10"/>
    <p:sldId id="263" r:id="rId11"/>
    <p:sldId id="264" r:id="rId12"/>
    <p:sldId id="265" r:id="rId13"/>
    <p:sldId id="266" r:id="rId14"/>
    <p:sldId id="273" r:id="rId15"/>
    <p:sldId id="274" r:id="rId16"/>
    <p:sldId id="272" r:id="rId17"/>
  </p:sldIdLst>
  <p:sldSz cx="12192000" cy="6858000"/>
  <p:notesSz cx="6858000" cy="9144000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>
        <p:scale>
          <a:sx n="75" d="100"/>
          <a:sy n="75" d="100"/>
        </p:scale>
        <p:origin x="96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2C74A07-4B04-4AD5-A9AF-479A4157DA1E}" type="datetimeFigureOut">
              <a:rPr lang="es-ES_tradnl"/>
              <a:pPr>
                <a:defRPr/>
              </a:pPr>
              <a:t>03/11/2017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_tradnl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ES_tradnl" noProof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6627825-F96E-49CB-A17A-94D805DC51AA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A1CFF09-48A0-47BD-A64E-A83C82FA05DA}" type="slidenum">
              <a:rPr lang="de-DE" altLang="es-CL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altLang="es-CL">
              <a:cs typeface="Arial" charset="0"/>
            </a:endParaRPr>
          </a:p>
        </p:txBody>
      </p:sp>
      <p:sp>
        <p:nvSpPr>
          <p:cNvPr id="1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CL" altLang="es-CL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33F532F-654E-4262-AC04-4F45E077B747}" type="slidenum">
              <a:rPr lang="de-DE" altLang="es-CL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altLang="es-CL">
              <a:cs typeface="Arial" charset="0"/>
            </a:endParaRPr>
          </a:p>
        </p:txBody>
      </p:sp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CL" altLang="es-C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0C4CD7-D60E-45FA-8775-4CFCC2B89A50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DE607B-6619-4B6C-9778-0C1A0653286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BDEDA-F373-4E1F-BB49-9A3EEBC938B8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97579-B8D1-4D5D-8F23-C65B801AED0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01C0C-8BA1-4A99-A08E-FD16830C5A8E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25827-5136-44C2-9A99-F24BC3A8B81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B5C41-ED17-4FEB-8A61-E9CFD3B1D64B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2443C0-A14B-4E89-9222-722A8DE8B4B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AD772-3B5F-40A1-8478-5753CD393AEB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82C56-FB29-475E-832F-E38E015EA94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84D21-6E6B-4CBB-97C8-D73FC75A91AC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80479C-322A-4880-808D-27DCEB7C8C9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9362E-601C-4BFF-80BB-180F53E76151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8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D969A-6A1E-4741-B9B7-5482CCCC653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DA8B1A-1B8C-415A-8267-8B15F6DC5632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4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166438-CF55-4BDF-9B54-9687AAF1742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09AB88-C9FD-4B4A-A57A-2BB8295B16EC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3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B8F771-AA03-4CAF-A6C3-39F265B281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B83DCA-63BD-421B-9D3E-3C3AAF562542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C55F8-6059-467E-866A-B1732C5A8EC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Marcador de tex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32CF6D-0E46-42CB-8473-C830095EABA3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5F8357-7FDF-4C8B-80E2-873821FBAC3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arcador de título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1027" name="Marcador de texto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Editar los estilos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A978DA-4284-4D21-B617-F5FB9548DFB6}" type="datetimeFigureOut">
              <a:rPr lang="es-ES"/>
              <a:pPr>
                <a:defRPr/>
              </a:pPr>
              <a:t>03/11/2017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950A59E-FC10-4CB9-9FA9-6ECBB7655E3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1.jpe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99" Type="http://schemas.openxmlformats.org/officeDocument/2006/relationships/tags" Target="../tags/tag680.xml"/><Relationship Id="rId303" Type="http://schemas.openxmlformats.org/officeDocument/2006/relationships/tags" Target="../tags/tag684.xml"/><Relationship Id="rId21" Type="http://schemas.openxmlformats.org/officeDocument/2006/relationships/tags" Target="../tags/tag402.xml"/><Relationship Id="rId42" Type="http://schemas.openxmlformats.org/officeDocument/2006/relationships/tags" Target="../tags/tag423.xml"/><Relationship Id="rId63" Type="http://schemas.openxmlformats.org/officeDocument/2006/relationships/tags" Target="../tags/tag444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159" Type="http://schemas.openxmlformats.org/officeDocument/2006/relationships/tags" Target="../tags/tag540.xml"/><Relationship Id="rId324" Type="http://schemas.openxmlformats.org/officeDocument/2006/relationships/tags" Target="../tags/tag705.xml"/><Relationship Id="rId345" Type="http://schemas.openxmlformats.org/officeDocument/2006/relationships/tags" Target="../tags/tag726.xml"/><Relationship Id="rId366" Type="http://schemas.openxmlformats.org/officeDocument/2006/relationships/tags" Target="../tags/tag747.xml"/><Relationship Id="rId170" Type="http://schemas.openxmlformats.org/officeDocument/2006/relationships/tags" Target="../tags/tag551.xml"/><Relationship Id="rId191" Type="http://schemas.openxmlformats.org/officeDocument/2006/relationships/tags" Target="../tags/tag572.xml"/><Relationship Id="rId205" Type="http://schemas.openxmlformats.org/officeDocument/2006/relationships/tags" Target="../tags/tag586.xml"/><Relationship Id="rId226" Type="http://schemas.openxmlformats.org/officeDocument/2006/relationships/tags" Target="../tags/tag607.xml"/><Relationship Id="rId247" Type="http://schemas.openxmlformats.org/officeDocument/2006/relationships/tags" Target="../tags/tag628.xml"/><Relationship Id="rId107" Type="http://schemas.openxmlformats.org/officeDocument/2006/relationships/tags" Target="../tags/tag488.xml"/><Relationship Id="rId268" Type="http://schemas.openxmlformats.org/officeDocument/2006/relationships/tags" Target="../tags/tag649.xml"/><Relationship Id="rId289" Type="http://schemas.openxmlformats.org/officeDocument/2006/relationships/tags" Target="../tags/tag670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314" Type="http://schemas.openxmlformats.org/officeDocument/2006/relationships/tags" Target="../tags/tag695.xml"/><Relationship Id="rId335" Type="http://schemas.openxmlformats.org/officeDocument/2006/relationships/tags" Target="../tags/tag716.xml"/><Relationship Id="rId356" Type="http://schemas.openxmlformats.org/officeDocument/2006/relationships/tags" Target="../tags/tag737.xml"/><Relationship Id="rId377" Type="http://schemas.openxmlformats.org/officeDocument/2006/relationships/tags" Target="../tags/tag758.xml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181" Type="http://schemas.openxmlformats.org/officeDocument/2006/relationships/tags" Target="../tags/tag562.xml"/><Relationship Id="rId216" Type="http://schemas.openxmlformats.org/officeDocument/2006/relationships/tags" Target="../tags/tag597.xml"/><Relationship Id="rId237" Type="http://schemas.openxmlformats.org/officeDocument/2006/relationships/tags" Target="../tags/tag618.xml"/><Relationship Id="rId258" Type="http://schemas.openxmlformats.org/officeDocument/2006/relationships/tags" Target="../tags/tag639.xml"/><Relationship Id="rId279" Type="http://schemas.openxmlformats.org/officeDocument/2006/relationships/tags" Target="../tags/tag660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290" Type="http://schemas.openxmlformats.org/officeDocument/2006/relationships/tags" Target="../tags/tag671.xml"/><Relationship Id="rId304" Type="http://schemas.openxmlformats.org/officeDocument/2006/relationships/tags" Target="../tags/tag685.xml"/><Relationship Id="rId325" Type="http://schemas.openxmlformats.org/officeDocument/2006/relationships/tags" Target="../tags/tag706.xml"/><Relationship Id="rId346" Type="http://schemas.openxmlformats.org/officeDocument/2006/relationships/tags" Target="../tags/tag727.xml"/><Relationship Id="rId367" Type="http://schemas.openxmlformats.org/officeDocument/2006/relationships/tags" Target="../tags/tag748.xml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71" Type="http://schemas.openxmlformats.org/officeDocument/2006/relationships/tags" Target="../tags/tag552.xml"/><Relationship Id="rId192" Type="http://schemas.openxmlformats.org/officeDocument/2006/relationships/tags" Target="../tags/tag573.xml"/><Relationship Id="rId206" Type="http://schemas.openxmlformats.org/officeDocument/2006/relationships/tags" Target="../tags/tag587.xml"/><Relationship Id="rId227" Type="http://schemas.openxmlformats.org/officeDocument/2006/relationships/tags" Target="../tags/tag608.xml"/><Relationship Id="rId248" Type="http://schemas.openxmlformats.org/officeDocument/2006/relationships/tags" Target="../tags/tag629.xml"/><Relationship Id="rId269" Type="http://schemas.openxmlformats.org/officeDocument/2006/relationships/tags" Target="../tags/tag650.xml"/><Relationship Id="rId12" Type="http://schemas.openxmlformats.org/officeDocument/2006/relationships/tags" Target="../tags/tag393.xml"/><Relationship Id="rId33" Type="http://schemas.openxmlformats.org/officeDocument/2006/relationships/tags" Target="../tags/tag414.xml"/><Relationship Id="rId108" Type="http://schemas.openxmlformats.org/officeDocument/2006/relationships/tags" Target="../tags/tag489.xml"/><Relationship Id="rId129" Type="http://schemas.openxmlformats.org/officeDocument/2006/relationships/tags" Target="../tags/tag510.xml"/><Relationship Id="rId280" Type="http://schemas.openxmlformats.org/officeDocument/2006/relationships/tags" Target="../tags/tag661.xml"/><Relationship Id="rId315" Type="http://schemas.openxmlformats.org/officeDocument/2006/relationships/tags" Target="../tags/tag696.xml"/><Relationship Id="rId336" Type="http://schemas.openxmlformats.org/officeDocument/2006/relationships/tags" Target="../tags/tag717.xml"/><Relationship Id="rId357" Type="http://schemas.openxmlformats.org/officeDocument/2006/relationships/tags" Target="../tags/tag738.xml"/><Relationship Id="rId54" Type="http://schemas.openxmlformats.org/officeDocument/2006/relationships/tags" Target="../tags/tag435.xml"/><Relationship Id="rId75" Type="http://schemas.openxmlformats.org/officeDocument/2006/relationships/tags" Target="../tags/tag456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61" Type="http://schemas.openxmlformats.org/officeDocument/2006/relationships/tags" Target="../tags/tag542.xml"/><Relationship Id="rId182" Type="http://schemas.openxmlformats.org/officeDocument/2006/relationships/tags" Target="../tags/tag563.xml"/><Relationship Id="rId217" Type="http://schemas.openxmlformats.org/officeDocument/2006/relationships/tags" Target="../tags/tag598.xml"/><Relationship Id="rId378" Type="http://schemas.openxmlformats.org/officeDocument/2006/relationships/tags" Target="../tags/tag759.xml"/><Relationship Id="rId6" Type="http://schemas.openxmlformats.org/officeDocument/2006/relationships/tags" Target="../tags/tag387.xml"/><Relationship Id="rId238" Type="http://schemas.openxmlformats.org/officeDocument/2006/relationships/tags" Target="../tags/tag619.xml"/><Relationship Id="rId259" Type="http://schemas.openxmlformats.org/officeDocument/2006/relationships/tags" Target="../tags/tag640.xml"/><Relationship Id="rId23" Type="http://schemas.openxmlformats.org/officeDocument/2006/relationships/tags" Target="../tags/tag404.xml"/><Relationship Id="rId119" Type="http://schemas.openxmlformats.org/officeDocument/2006/relationships/tags" Target="../tags/tag500.xml"/><Relationship Id="rId270" Type="http://schemas.openxmlformats.org/officeDocument/2006/relationships/tags" Target="../tags/tag651.xml"/><Relationship Id="rId291" Type="http://schemas.openxmlformats.org/officeDocument/2006/relationships/tags" Target="../tags/tag672.xml"/><Relationship Id="rId305" Type="http://schemas.openxmlformats.org/officeDocument/2006/relationships/tags" Target="../tags/tag686.xml"/><Relationship Id="rId326" Type="http://schemas.openxmlformats.org/officeDocument/2006/relationships/tags" Target="../tags/tag707.xml"/><Relationship Id="rId347" Type="http://schemas.openxmlformats.org/officeDocument/2006/relationships/tags" Target="../tags/tag728.xml"/><Relationship Id="rId44" Type="http://schemas.openxmlformats.org/officeDocument/2006/relationships/tags" Target="../tags/tag425.xml"/><Relationship Id="rId65" Type="http://schemas.openxmlformats.org/officeDocument/2006/relationships/tags" Target="../tags/tag446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51" Type="http://schemas.openxmlformats.org/officeDocument/2006/relationships/tags" Target="../tags/tag532.xml"/><Relationship Id="rId368" Type="http://schemas.openxmlformats.org/officeDocument/2006/relationships/tags" Target="../tags/tag749.xml"/><Relationship Id="rId172" Type="http://schemas.openxmlformats.org/officeDocument/2006/relationships/tags" Target="../tags/tag553.xml"/><Relationship Id="rId193" Type="http://schemas.openxmlformats.org/officeDocument/2006/relationships/tags" Target="../tags/tag574.xml"/><Relationship Id="rId207" Type="http://schemas.openxmlformats.org/officeDocument/2006/relationships/tags" Target="../tags/tag588.xml"/><Relationship Id="rId228" Type="http://schemas.openxmlformats.org/officeDocument/2006/relationships/tags" Target="../tags/tag609.xml"/><Relationship Id="rId249" Type="http://schemas.openxmlformats.org/officeDocument/2006/relationships/tags" Target="../tags/tag630.xml"/><Relationship Id="rId13" Type="http://schemas.openxmlformats.org/officeDocument/2006/relationships/tags" Target="../tags/tag394.xml"/><Relationship Id="rId109" Type="http://schemas.openxmlformats.org/officeDocument/2006/relationships/tags" Target="../tags/tag490.xml"/><Relationship Id="rId260" Type="http://schemas.openxmlformats.org/officeDocument/2006/relationships/tags" Target="../tags/tag641.xml"/><Relationship Id="rId281" Type="http://schemas.openxmlformats.org/officeDocument/2006/relationships/tags" Target="../tags/tag662.xml"/><Relationship Id="rId316" Type="http://schemas.openxmlformats.org/officeDocument/2006/relationships/tags" Target="../tags/tag697.xml"/><Relationship Id="rId337" Type="http://schemas.openxmlformats.org/officeDocument/2006/relationships/tags" Target="../tags/tag718.xml"/><Relationship Id="rId34" Type="http://schemas.openxmlformats.org/officeDocument/2006/relationships/tags" Target="../tags/tag415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20" Type="http://schemas.openxmlformats.org/officeDocument/2006/relationships/tags" Target="../tags/tag501.xml"/><Relationship Id="rId141" Type="http://schemas.openxmlformats.org/officeDocument/2006/relationships/tags" Target="../tags/tag522.xml"/><Relationship Id="rId358" Type="http://schemas.openxmlformats.org/officeDocument/2006/relationships/tags" Target="../tags/tag739.xml"/><Relationship Id="rId379" Type="http://schemas.openxmlformats.org/officeDocument/2006/relationships/tags" Target="../tags/tag760.xml"/><Relationship Id="rId7" Type="http://schemas.openxmlformats.org/officeDocument/2006/relationships/tags" Target="../tags/tag388.xml"/><Relationship Id="rId162" Type="http://schemas.openxmlformats.org/officeDocument/2006/relationships/tags" Target="../tags/tag543.xml"/><Relationship Id="rId183" Type="http://schemas.openxmlformats.org/officeDocument/2006/relationships/tags" Target="../tags/tag564.xml"/><Relationship Id="rId218" Type="http://schemas.openxmlformats.org/officeDocument/2006/relationships/tags" Target="../tags/tag599.xml"/><Relationship Id="rId239" Type="http://schemas.openxmlformats.org/officeDocument/2006/relationships/tags" Target="../tags/tag620.xml"/><Relationship Id="rId250" Type="http://schemas.openxmlformats.org/officeDocument/2006/relationships/tags" Target="../tags/tag631.xml"/><Relationship Id="rId271" Type="http://schemas.openxmlformats.org/officeDocument/2006/relationships/tags" Target="../tags/tag652.xml"/><Relationship Id="rId292" Type="http://schemas.openxmlformats.org/officeDocument/2006/relationships/tags" Target="../tags/tag673.xml"/><Relationship Id="rId306" Type="http://schemas.openxmlformats.org/officeDocument/2006/relationships/tags" Target="../tags/tag687.xml"/><Relationship Id="rId24" Type="http://schemas.openxmlformats.org/officeDocument/2006/relationships/tags" Target="../tags/tag405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31" Type="http://schemas.openxmlformats.org/officeDocument/2006/relationships/tags" Target="../tags/tag512.xml"/><Relationship Id="rId327" Type="http://schemas.openxmlformats.org/officeDocument/2006/relationships/tags" Target="../tags/tag708.xml"/><Relationship Id="rId348" Type="http://schemas.openxmlformats.org/officeDocument/2006/relationships/tags" Target="../tags/tag729.xml"/><Relationship Id="rId369" Type="http://schemas.openxmlformats.org/officeDocument/2006/relationships/tags" Target="../tags/tag750.xml"/><Relationship Id="rId152" Type="http://schemas.openxmlformats.org/officeDocument/2006/relationships/tags" Target="../tags/tag533.xml"/><Relationship Id="rId173" Type="http://schemas.openxmlformats.org/officeDocument/2006/relationships/tags" Target="../tags/tag554.xml"/><Relationship Id="rId194" Type="http://schemas.openxmlformats.org/officeDocument/2006/relationships/tags" Target="../tags/tag575.xml"/><Relationship Id="rId208" Type="http://schemas.openxmlformats.org/officeDocument/2006/relationships/tags" Target="../tags/tag589.xml"/><Relationship Id="rId229" Type="http://schemas.openxmlformats.org/officeDocument/2006/relationships/tags" Target="../tags/tag610.xml"/><Relationship Id="rId380" Type="http://schemas.openxmlformats.org/officeDocument/2006/relationships/tags" Target="../tags/tag761.xml"/><Relationship Id="rId240" Type="http://schemas.openxmlformats.org/officeDocument/2006/relationships/tags" Target="../tags/tag621.xml"/><Relationship Id="rId261" Type="http://schemas.openxmlformats.org/officeDocument/2006/relationships/tags" Target="../tags/tag642.xml"/><Relationship Id="rId14" Type="http://schemas.openxmlformats.org/officeDocument/2006/relationships/tags" Target="../tags/tag395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282" Type="http://schemas.openxmlformats.org/officeDocument/2006/relationships/tags" Target="../tags/tag663.xml"/><Relationship Id="rId317" Type="http://schemas.openxmlformats.org/officeDocument/2006/relationships/tags" Target="../tags/tag698.xml"/><Relationship Id="rId338" Type="http://schemas.openxmlformats.org/officeDocument/2006/relationships/tags" Target="../tags/tag719.xml"/><Relationship Id="rId359" Type="http://schemas.openxmlformats.org/officeDocument/2006/relationships/tags" Target="../tags/tag740.xml"/><Relationship Id="rId8" Type="http://schemas.openxmlformats.org/officeDocument/2006/relationships/tags" Target="../tags/tag389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tags" Target="../tags/tag544.xml"/><Relationship Id="rId184" Type="http://schemas.openxmlformats.org/officeDocument/2006/relationships/tags" Target="../tags/tag565.xml"/><Relationship Id="rId219" Type="http://schemas.openxmlformats.org/officeDocument/2006/relationships/tags" Target="../tags/tag600.xml"/><Relationship Id="rId370" Type="http://schemas.openxmlformats.org/officeDocument/2006/relationships/tags" Target="../tags/tag751.xml"/><Relationship Id="rId230" Type="http://schemas.openxmlformats.org/officeDocument/2006/relationships/tags" Target="../tags/tag611.xml"/><Relationship Id="rId251" Type="http://schemas.openxmlformats.org/officeDocument/2006/relationships/tags" Target="../tags/tag632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272" Type="http://schemas.openxmlformats.org/officeDocument/2006/relationships/tags" Target="../tags/tag653.xml"/><Relationship Id="rId293" Type="http://schemas.openxmlformats.org/officeDocument/2006/relationships/tags" Target="../tags/tag674.xml"/><Relationship Id="rId307" Type="http://schemas.openxmlformats.org/officeDocument/2006/relationships/tags" Target="../tags/tag688.xml"/><Relationship Id="rId328" Type="http://schemas.openxmlformats.org/officeDocument/2006/relationships/tags" Target="../tags/tag709.xml"/><Relationship Id="rId349" Type="http://schemas.openxmlformats.org/officeDocument/2006/relationships/tags" Target="../tags/tag730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74" Type="http://schemas.openxmlformats.org/officeDocument/2006/relationships/tags" Target="../tags/tag555.xml"/><Relationship Id="rId195" Type="http://schemas.openxmlformats.org/officeDocument/2006/relationships/tags" Target="../tags/tag576.xml"/><Relationship Id="rId209" Type="http://schemas.openxmlformats.org/officeDocument/2006/relationships/tags" Target="../tags/tag590.xml"/><Relationship Id="rId360" Type="http://schemas.openxmlformats.org/officeDocument/2006/relationships/tags" Target="../tags/tag741.xml"/><Relationship Id="rId381" Type="http://schemas.openxmlformats.org/officeDocument/2006/relationships/tags" Target="../tags/tag762.xml"/><Relationship Id="rId220" Type="http://schemas.openxmlformats.org/officeDocument/2006/relationships/tags" Target="../tags/tag601.xml"/><Relationship Id="rId241" Type="http://schemas.openxmlformats.org/officeDocument/2006/relationships/tags" Target="../tags/tag622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262" Type="http://schemas.openxmlformats.org/officeDocument/2006/relationships/tags" Target="../tags/tag643.xml"/><Relationship Id="rId283" Type="http://schemas.openxmlformats.org/officeDocument/2006/relationships/tags" Target="../tags/tag664.xml"/><Relationship Id="rId318" Type="http://schemas.openxmlformats.org/officeDocument/2006/relationships/tags" Target="../tags/tag699.xml"/><Relationship Id="rId339" Type="http://schemas.openxmlformats.org/officeDocument/2006/relationships/tags" Target="../tags/tag720.xml"/><Relationship Id="rId78" Type="http://schemas.openxmlformats.org/officeDocument/2006/relationships/tags" Target="../tags/tag459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64" Type="http://schemas.openxmlformats.org/officeDocument/2006/relationships/tags" Target="../tags/tag545.xml"/><Relationship Id="rId185" Type="http://schemas.openxmlformats.org/officeDocument/2006/relationships/tags" Target="../tags/tag566.xml"/><Relationship Id="rId350" Type="http://schemas.openxmlformats.org/officeDocument/2006/relationships/tags" Target="../tags/tag731.xml"/><Relationship Id="rId371" Type="http://schemas.openxmlformats.org/officeDocument/2006/relationships/tags" Target="../tags/tag752.xml"/><Relationship Id="rId9" Type="http://schemas.openxmlformats.org/officeDocument/2006/relationships/tags" Target="../tags/tag390.xml"/><Relationship Id="rId210" Type="http://schemas.openxmlformats.org/officeDocument/2006/relationships/tags" Target="../tags/tag591.xml"/><Relationship Id="rId26" Type="http://schemas.openxmlformats.org/officeDocument/2006/relationships/tags" Target="../tags/tag407.xml"/><Relationship Id="rId231" Type="http://schemas.openxmlformats.org/officeDocument/2006/relationships/tags" Target="../tags/tag612.xml"/><Relationship Id="rId252" Type="http://schemas.openxmlformats.org/officeDocument/2006/relationships/tags" Target="../tags/tag633.xml"/><Relationship Id="rId273" Type="http://schemas.openxmlformats.org/officeDocument/2006/relationships/tags" Target="../tags/tag654.xml"/><Relationship Id="rId294" Type="http://schemas.openxmlformats.org/officeDocument/2006/relationships/tags" Target="../tags/tag675.xml"/><Relationship Id="rId308" Type="http://schemas.openxmlformats.org/officeDocument/2006/relationships/tags" Target="../tags/tag689.xml"/><Relationship Id="rId329" Type="http://schemas.openxmlformats.org/officeDocument/2006/relationships/tags" Target="../tags/tag710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75" Type="http://schemas.openxmlformats.org/officeDocument/2006/relationships/tags" Target="../tags/tag556.xml"/><Relationship Id="rId340" Type="http://schemas.openxmlformats.org/officeDocument/2006/relationships/tags" Target="../tags/tag721.xml"/><Relationship Id="rId361" Type="http://schemas.openxmlformats.org/officeDocument/2006/relationships/tags" Target="../tags/tag742.xml"/><Relationship Id="rId196" Type="http://schemas.openxmlformats.org/officeDocument/2006/relationships/tags" Target="../tags/tag577.xml"/><Relationship Id="rId200" Type="http://schemas.openxmlformats.org/officeDocument/2006/relationships/tags" Target="../tags/tag581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397.xml"/><Relationship Id="rId221" Type="http://schemas.openxmlformats.org/officeDocument/2006/relationships/tags" Target="../tags/tag602.xml"/><Relationship Id="rId242" Type="http://schemas.openxmlformats.org/officeDocument/2006/relationships/tags" Target="../tags/tag623.xml"/><Relationship Id="rId263" Type="http://schemas.openxmlformats.org/officeDocument/2006/relationships/tags" Target="../tags/tag644.xml"/><Relationship Id="rId284" Type="http://schemas.openxmlformats.org/officeDocument/2006/relationships/tags" Target="../tags/tag665.xml"/><Relationship Id="rId319" Type="http://schemas.openxmlformats.org/officeDocument/2006/relationships/tags" Target="../tags/tag700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330" Type="http://schemas.openxmlformats.org/officeDocument/2006/relationships/tags" Target="../tags/tag711.xml"/><Relationship Id="rId90" Type="http://schemas.openxmlformats.org/officeDocument/2006/relationships/tags" Target="../tags/tag471.xml"/><Relationship Id="rId165" Type="http://schemas.openxmlformats.org/officeDocument/2006/relationships/tags" Target="../tags/tag546.xml"/><Relationship Id="rId186" Type="http://schemas.openxmlformats.org/officeDocument/2006/relationships/tags" Target="../tags/tag567.xml"/><Relationship Id="rId351" Type="http://schemas.openxmlformats.org/officeDocument/2006/relationships/tags" Target="../tags/tag732.xml"/><Relationship Id="rId372" Type="http://schemas.openxmlformats.org/officeDocument/2006/relationships/tags" Target="../tags/tag753.xml"/><Relationship Id="rId211" Type="http://schemas.openxmlformats.org/officeDocument/2006/relationships/tags" Target="../tags/tag592.xml"/><Relationship Id="rId232" Type="http://schemas.openxmlformats.org/officeDocument/2006/relationships/tags" Target="../tags/tag613.xml"/><Relationship Id="rId253" Type="http://schemas.openxmlformats.org/officeDocument/2006/relationships/tags" Target="../tags/tag634.xml"/><Relationship Id="rId274" Type="http://schemas.openxmlformats.org/officeDocument/2006/relationships/tags" Target="../tags/tag655.xml"/><Relationship Id="rId295" Type="http://schemas.openxmlformats.org/officeDocument/2006/relationships/tags" Target="../tags/tag676.xml"/><Relationship Id="rId309" Type="http://schemas.openxmlformats.org/officeDocument/2006/relationships/tags" Target="../tags/tag690.xml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320" Type="http://schemas.openxmlformats.org/officeDocument/2006/relationships/tags" Target="../tags/tag701.xml"/><Relationship Id="rId80" Type="http://schemas.openxmlformats.org/officeDocument/2006/relationships/tags" Target="../tags/tag461.xml"/><Relationship Id="rId155" Type="http://schemas.openxmlformats.org/officeDocument/2006/relationships/tags" Target="../tags/tag536.xml"/><Relationship Id="rId176" Type="http://schemas.openxmlformats.org/officeDocument/2006/relationships/tags" Target="../tags/tag557.xml"/><Relationship Id="rId197" Type="http://schemas.openxmlformats.org/officeDocument/2006/relationships/tags" Target="../tags/tag578.xml"/><Relationship Id="rId341" Type="http://schemas.openxmlformats.org/officeDocument/2006/relationships/tags" Target="../tags/tag722.xml"/><Relationship Id="rId362" Type="http://schemas.openxmlformats.org/officeDocument/2006/relationships/tags" Target="../tags/tag743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582.xml"/><Relationship Id="rId222" Type="http://schemas.openxmlformats.org/officeDocument/2006/relationships/tags" Target="../tags/tag603.xml"/><Relationship Id="rId243" Type="http://schemas.openxmlformats.org/officeDocument/2006/relationships/tags" Target="../tags/tag624.xml"/><Relationship Id="rId264" Type="http://schemas.openxmlformats.org/officeDocument/2006/relationships/tags" Target="../tags/tag645.xml"/><Relationship Id="rId285" Type="http://schemas.openxmlformats.org/officeDocument/2006/relationships/tags" Target="../tags/tag666.xml"/><Relationship Id="rId17" Type="http://schemas.openxmlformats.org/officeDocument/2006/relationships/tags" Target="../tags/tag398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24" Type="http://schemas.openxmlformats.org/officeDocument/2006/relationships/tags" Target="../tags/tag505.xml"/><Relationship Id="rId310" Type="http://schemas.openxmlformats.org/officeDocument/2006/relationships/tags" Target="../tags/tag691.xml"/><Relationship Id="rId70" Type="http://schemas.openxmlformats.org/officeDocument/2006/relationships/tags" Target="../tags/tag451.xml"/><Relationship Id="rId91" Type="http://schemas.openxmlformats.org/officeDocument/2006/relationships/tags" Target="../tags/tag472.xml"/><Relationship Id="rId145" Type="http://schemas.openxmlformats.org/officeDocument/2006/relationships/tags" Target="../tags/tag526.xml"/><Relationship Id="rId166" Type="http://schemas.openxmlformats.org/officeDocument/2006/relationships/tags" Target="../tags/tag547.xml"/><Relationship Id="rId187" Type="http://schemas.openxmlformats.org/officeDocument/2006/relationships/tags" Target="../tags/tag568.xml"/><Relationship Id="rId331" Type="http://schemas.openxmlformats.org/officeDocument/2006/relationships/tags" Target="../tags/tag712.xml"/><Relationship Id="rId352" Type="http://schemas.openxmlformats.org/officeDocument/2006/relationships/tags" Target="../tags/tag733.xml"/><Relationship Id="rId373" Type="http://schemas.openxmlformats.org/officeDocument/2006/relationships/tags" Target="../tags/tag754.xml"/><Relationship Id="rId1" Type="http://schemas.openxmlformats.org/officeDocument/2006/relationships/tags" Target="../tags/tag382.xml"/><Relationship Id="rId212" Type="http://schemas.openxmlformats.org/officeDocument/2006/relationships/tags" Target="../tags/tag593.xml"/><Relationship Id="rId233" Type="http://schemas.openxmlformats.org/officeDocument/2006/relationships/tags" Target="../tags/tag614.xml"/><Relationship Id="rId254" Type="http://schemas.openxmlformats.org/officeDocument/2006/relationships/tags" Target="../tags/tag635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275" Type="http://schemas.openxmlformats.org/officeDocument/2006/relationships/tags" Target="../tags/tag656.xml"/><Relationship Id="rId296" Type="http://schemas.openxmlformats.org/officeDocument/2006/relationships/tags" Target="../tags/tag677.xml"/><Relationship Id="rId300" Type="http://schemas.openxmlformats.org/officeDocument/2006/relationships/tags" Target="../tags/tag681.xml"/><Relationship Id="rId60" Type="http://schemas.openxmlformats.org/officeDocument/2006/relationships/tags" Target="../tags/tag441.xml"/><Relationship Id="rId81" Type="http://schemas.openxmlformats.org/officeDocument/2006/relationships/tags" Target="../tags/tag462.xml"/><Relationship Id="rId135" Type="http://schemas.openxmlformats.org/officeDocument/2006/relationships/tags" Target="../tags/tag516.xml"/><Relationship Id="rId156" Type="http://schemas.openxmlformats.org/officeDocument/2006/relationships/tags" Target="../tags/tag537.xml"/><Relationship Id="rId177" Type="http://schemas.openxmlformats.org/officeDocument/2006/relationships/tags" Target="../tags/tag558.xml"/><Relationship Id="rId198" Type="http://schemas.openxmlformats.org/officeDocument/2006/relationships/tags" Target="../tags/tag579.xml"/><Relationship Id="rId321" Type="http://schemas.openxmlformats.org/officeDocument/2006/relationships/tags" Target="../tags/tag702.xml"/><Relationship Id="rId342" Type="http://schemas.openxmlformats.org/officeDocument/2006/relationships/tags" Target="../tags/tag723.xml"/><Relationship Id="rId363" Type="http://schemas.openxmlformats.org/officeDocument/2006/relationships/tags" Target="../tags/tag744.xml"/><Relationship Id="rId384" Type="http://schemas.openxmlformats.org/officeDocument/2006/relationships/image" Target="../media/image1.jpeg"/><Relationship Id="rId202" Type="http://schemas.openxmlformats.org/officeDocument/2006/relationships/tags" Target="../tags/tag583.xml"/><Relationship Id="rId223" Type="http://schemas.openxmlformats.org/officeDocument/2006/relationships/tags" Target="../tags/tag604.xml"/><Relationship Id="rId244" Type="http://schemas.openxmlformats.org/officeDocument/2006/relationships/tags" Target="../tags/tag625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265" Type="http://schemas.openxmlformats.org/officeDocument/2006/relationships/tags" Target="../tags/tag646.xml"/><Relationship Id="rId286" Type="http://schemas.openxmlformats.org/officeDocument/2006/relationships/tags" Target="../tags/tag667.xml"/><Relationship Id="rId50" Type="http://schemas.openxmlformats.org/officeDocument/2006/relationships/tags" Target="../tags/tag431.xml"/><Relationship Id="rId104" Type="http://schemas.openxmlformats.org/officeDocument/2006/relationships/tags" Target="../tags/tag485.xml"/><Relationship Id="rId125" Type="http://schemas.openxmlformats.org/officeDocument/2006/relationships/tags" Target="../tags/tag506.xml"/><Relationship Id="rId146" Type="http://schemas.openxmlformats.org/officeDocument/2006/relationships/tags" Target="../tags/tag527.xml"/><Relationship Id="rId167" Type="http://schemas.openxmlformats.org/officeDocument/2006/relationships/tags" Target="../tags/tag548.xml"/><Relationship Id="rId188" Type="http://schemas.openxmlformats.org/officeDocument/2006/relationships/tags" Target="../tags/tag569.xml"/><Relationship Id="rId311" Type="http://schemas.openxmlformats.org/officeDocument/2006/relationships/tags" Target="../tags/tag692.xml"/><Relationship Id="rId332" Type="http://schemas.openxmlformats.org/officeDocument/2006/relationships/tags" Target="../tags/tag713.xml"/><Relationship Id="rId353" Type="http://schemas.openxmlformats.org/officeDocument/2006/relationships/tags" Target="../tags/tag734.xml"/><Relationship Id="rId374" Type="http://schemas.openxmlformats.org/officeDocument/2006/relationships/tags" Target="../tags/tag755.xml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213" Type="http://schemas.openxmlformats.org/officeDocument/2006/relationships/tags" Target="../tags/tag594.xml"/><Relationship Id="rId234" Type="http://schemas.openxmlformats.org/officeDocument/2006/relationships/tags" Target="../tags/tag615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55" Type="http://schemas.openxmlformats.org/officeDocument/2006/relationships/tags" Target="../tags/tag636.xml"/><Relationship Id="rId276" Type="http://schemas.openxmlformats.org/officeDocument/2006/relationships/tags" Target="../tags/tag657.xml"/><Relationship Id="rId297" Type="http://schemas.openxmlformats.org/officeDocument/2006/relationships/tags" Target="../tags/tag678.xml"/><Relationship Id="rId40" Type="http://schemas.openxmlformats.org/officeDocument/2006/relationships/tags" Target="../tags/tag421.xml"/><Relationship Id="rId115" Type="http://schemas.openxmlformats.org/officeDocument/2006/relationships/tags" Target="../tags/tag496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178" Type="http://schemas.openxmlformats.org/officeDocument/2006/relationships/tags" Target="../tags/tag559.xml"/><Relationship Id="rId301" Type="http://schemas.openxmlformats.org/officeDocument/2006/relationships/tags" Target="../tags/tag682.xml"/><Relationship Id="rId322" Type="http://schemas.openxmlformats.org/officeDocument/2006/relationships/tags" Target="../tags/tag703.xml"/><Relationship Id="rId343" Type="http://schemas.openxmlformats.org/officeDocument/2006/relationships/tags" Target="../tags/tag724.xml"/><Relationship Id="rId364" Type="http://schemas.openxmlformats.org/officeDocument/2006/relationships/tags" Target="../tags/tag745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99" Type="http://schemas.openxmlformats.org/officeDocument/2006/relationships/tags" Target="../tags/tag580.xml"/><Relationship Id="rId203" Type="http://schemas.openxmlformats.org/officeDocument/2006/relationships/tags" Target="../tags/tag584.xml"/><Relationship Id="rId19" Type="http://schemas.openxmlformats.org/officeDocument/2006/relationships/tags" Target="../tags/tag400.xml"/><Relationship Id="rId224" Type="http://schemas.openxmlformats.org/officeDocument/2006/relationships/tags" Target="../tags/tag605.xml"/><Relationship Id="rId245" Type="http://schemas.openxmlformats.org/officeDocument/2006/relationships/tags" Target="../tags/tag626.xml"/><Relationship Id="rId266" Type="http://schemas.openxmlformats.org/officeDocument/2006/relationships/tags" Target="../tags/tag647.xml"/><Relationship Id="rId287" Type="http://schemas.openxmlformats.org/officeDocument/2006/relationships/tags" Target="../tags/tag668.xml"/><Relationship Id="rId30" Type="http://schemas.openxmlformats.org/officeDocument/2006/relationships/tags" Target="../tags/tag41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tags" Target="../tags/tag549.xml"/><Relationship Id="rId312" Type="http://schemas.openxmlformats.org/officeDocument/2006/relationships/tags" Target="../tags/tag693.xml"/><Relationship Id="rId333" Type="http://schemas.openxmlformats.org/officeDocument/2006/relationships/tags" Target="../tags/tag714.xml"/><Relationship Id="rId354" Type="http://schemas.openxmlformats.org/officeDocument/2006/relationships/tags" Target="../tags/tag735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189" Type="http://schemas.openxmlformats.org/officeDocument/2006/relationships/tags" Target="../tags/tag570.xml"/><Relationship Id="rId375" Type="http://schemas.openxmlformats.org/officeDocument/2006/relationships/tags" Target="../tags/tag756.xml"/><Relationship Id="rId3" Type="http://schemas.openxmlformats.org/officeDocument/2006/relationships/tags" Target="../tags/tag384.xml"/><Relationship Id="rId214" Type="http://schemas.openxmlformats.org/officeDocument/2006/relationships/tags" Target="../tags/tag595.xml"/><Relationship Id="rId235" Type="http://schemas.openxmlformats.org/officeDocument/2006/relationships/tags" Target="../tags/tag616.xml"/><Relationship Id="rId256" Type="http://schemas.openxmlformats.org/officeDocument/2006/relationships/tags" Target="../tags/tag637.xml"/><Relationship Id="rId277" Type="http://schemas.openxmlformats.org/officeDocument/2006/relationships/tags" Target="../tags/tag658.xml"/><Relationship Id="rId298" Type="http://schemas.openxmlformats.org/officeDocument/2006/relationships/tags" Target="../tags/tag679.xml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302" Type="http://schemas.openxmlformats.org/officeDocument/2006/relationships/tags" Target="../tags/tag683.xml"/><Relationship Id="rId323" Type="http://schemas.openxmlformats.org/officeDocument/2006/relationships/tags" Target="../tags/tag704.xml"/><Relationship Id="rId344" Type="http://schemas.openxmlformats.org/officeDocument/2006/relationships/tags" Target="../tags/tag725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179" Type="http://schemas.openxmlformats.org/officeDocument/2006/relationships/tags" Target="../tags/tag560.xml"/><Relationship Id="rId365" Type="http://schemas.openxmlformats.org/officeDocument/2006/relationships/tags" Target="../tags/tag746.xml"/><Relationship Id="rId190" Type="http://schemas.openxmlformats.org/officeDocument/2006/relationships/tags" Target="../tags/tag571.xml"/><Relationship Id="rId204" Type="http://schemas.openxmlformats.org/officeDocument/2006/relationships/tags" Target="../tags/tag585.xml"/><Relationship Id="rId225" Type="http://schemas.openxmlformats.org/officeDocument/2006/relationships/tags" Target="../tags/tag606.xml"/><Relationship Id="rId246" Type="http://schemas.openxmlformats.org/officeDocument/2006/relationships/tags" Target="../tags/tag627.xml"/><Relationship Id="rId267" Type="http://schemas.openxmlformats.org/officeDocument/2006/relationships/tags" Target="../tags/tag648.xml"/><Relationship Id="rId288" Type="http://schemas.openxmlformats.org/officeDocument/2006/relationships/tags" Target="../tags/tag669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313" Type="http://schemas.openxmlformats.org/officeDocument/2006/relationships/tags" Target="../tags/tag694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94" Type="http://schemas.openxmlformats.org/officeDocument/2006/relationships/tags" Target="../tags/tag475.xml"/><Relationship Id="rId148" Type="http://schemas.openxmlformats.org/officeDocument/2006/relationships/tags" Target="../tags/tag529.xml"/><Relationship Id="rId169" Type="http://schemas.openxmlformats.org/officeDocument/2006/relationships/tags" Target="../tags/tag550.xml"/><Relationship Id="rId334" Type="http://schemas.openxmlformats.org/officeDocument/2006/relationships/tags" Target="../tags/tag715.xml"/><Relationship Id="rId355" Type="http://schemas.openxmlformats.org/officeDocument/2006/relationships/tags" Target="../tags/tag736.xml"/><Relationship Id="rId376" Type="http://schemas.openxmlformats.org/officeDocument/2006/relationships/tags" Target="../tags/tag757.xml"/><Relationship Id="rId4" Type="http://schemas.openxmlformats.org/officeDocument/2006/relationships/tags" Target="../tags/tag385.xml"/><Relationship Id="rId180" Type="http://schemas.openxmlformats.org/officeDocument/2006/relationships/tags" Target="../tags/tag561.xml"/><Relationship Id="rId215" Type="http://schemas.openxmlformats.org/officeDocument/2006/relationships/tags" Target="../tags/tag596.xml"/><Relationship Id="rId236" Type="http://schemas.openxmlformats.org/officeDocument/2006/relationships/tags" Target="../tags/tag617.xml"/><Relationship Id="rId257" Type="http://schemas.openxmlformats.org/officeDocument/2006/relationships/tags" Target="../tags/tag638.xml"/><Relationship Id="rId278" Type="http://schemas.openxmlformats.org/officeDocument/2006/relationships/tags" Target="../tags/tag6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043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3" name="Freeform 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201863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4" name="Freeform 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662238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5" name="Freeform 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95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6" name="Freeform 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5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7" name="Freeform 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00463" y="3508375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8" name="Freeform 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13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9" name="Freeform 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11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0" name="Freeform 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392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1" name="Freeform 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751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2" name="Freeform 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243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3" name="Freeform 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35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4" name="Freeform 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72138" y="1925638"/>
            <a:ext cx="182562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5" name="Freeform 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697538" y="2182813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6" name="Freeform 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715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067" name="Group 19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34339" y="3411539"/>
            <a:ext cx="473075" cy="212725"/>
            <a:chOff x="4488" y="2394"/>
            <a:chExt cx="358" cy="124"/>
          </a:xfrm>
          <a:solidFill>
            <a:schemeClr val="bg1">
              <a:lumMod val="95000"/>
            </a:schemeClr>
          </a:solidFill>
        </p:grpSpPr>
        <p:sp>
          <p:nvSpPr>
            <p:cNvPr id="2068" name="Freeform 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069" name="Freeform 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070" name="Freeform 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056313" y="1287463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1" name="Freeform 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319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2" name="Freeform 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951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3" name="Freeform 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060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357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2522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525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6" name="Freeform 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501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7" name="Freeform 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827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8" name="Freeform 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565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9" name="Freeform 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96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0" name="Freeform 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603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1" name="Freeform 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446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2" name="Freeform 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908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3" name="Freeform 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772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4" name="Freeform 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891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5" name="Freeform 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378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086" name="Group 3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4230689" y="5295901"/>
            <a:ext cx="65087" cy="55563"/>
            <a:chOff x="1654" y="3671"/>
            <a:chExt cx="49" cy="17"/>
          </a:xfrm>
          <a:solidFill>
            <a:schemeClr val="bg1">
              <a:lumMod val="95000"/>
            </a:schemeClr>
          </a:solidFill>
        </p:grpSpPr>
        <p:sp>
          <p:nvSpPr>
            <p:cNvPr id="2087" name="Freeform 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088" name="Freeform 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089" name="Freeform 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878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0" name="Freeform 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933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1" name="Freeform 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46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2" name="Freeform 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960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3" name="Freeform 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940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4" name="Freeform 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989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376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3997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77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3997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7" name="Freeform 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997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8" name="Freeform 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03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9" name="Freeform 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10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0" name="Freeform 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019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1" name="Freeform 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041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2" name="Freeform 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003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3" name="Freeform 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989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4" name="Freeform 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008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5" name="Freeform 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490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06" name="Group 5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3616326" y="2817813"/>
            <a:ext cx="131763" cy="195262"/>
            <a:chOff x="1199" y="2121"/>
            <a:chExt cx="97" cy="123"/>
          </a:xfrm>
          <a:solidFill>
            <a:schemeClr val="bg1">
              <a:lumMod val="95000"/>
            </a:schemeClr>
          </a:solidFill>
        </p:grpSpPr>
        <p:sp>
          <p:nvSpPr>
            <p:cNvPr id="2107" name="Freeform 5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08" name="Freeform 6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09" name="Freeform 6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0" name="Freeform 6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1" name="Freeform 6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2" name="Freeform 6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3" name="Freeform 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4" name="Freeform 6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5" name="Freeform 6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6" name="Freeform 6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14388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429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89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9439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90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553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91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553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4392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9244013" y="4738688"/>
            <a:ext cx="458787" cy="404812"/>
            <a:chOff x="5372" y="3323"/>
            <a:chExt cx="341" cy="253"/>
          </a:xfrm>
        </p:grpSpPr>
        <p:sp>
          <p:nvSpPr>
            <p:cNvPr id="14721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22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31"/>
                <a:gd name="T133" fmla="*/ 0 h 358"/>
                <a:gd name="T134" fmla="*/ 631 w 631"/>
                <a:gd name="T135" fmla="*/ 358 h 3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23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5" name="Freeform 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886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394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613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95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36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50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29" name="Freeform 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009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0" name="Freeform 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121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1" name="Freeform 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274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2" name="Freeform 8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337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3" name="Freeform 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9194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4" name="Freeform 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137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403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9337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04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293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05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9326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8" name="Freeform 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9347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9" name="Freeform 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301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40" name="Freeform 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294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41" name="Freeform 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375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42" name="Group 9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9250363" y="3367088"/>
            <a:ext cx="163512" cy="114300"/>
            <a:chOff x="5379" y="2466"/>
            <a:chExt cx="122" cy="71"/>
          </a:xfrm>
          <a:solidFill>
            <a:schemeClr val="bg1">
              <a:lumMod val="95000"/>
            </a:schemeClr>
          </a:solidFill>
        </p:grpSpPr>
        <p:sp>
          <p:nvSpPr>
            <p:cNvPr id="2143" name="Freeform 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4" name="Freeform 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5" name="Freeform 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6" name="Freeform 9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7" name="Freeform 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8" name="Line 10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9" name="Freeform 1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50" name="Line 102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51" name="Freeform 1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152" name="Freeform 10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34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3" name="Freeform 1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4733925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4" name="Freeform 1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035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5" name="Freeform 1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9190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6" name="Freeform 1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209088" y="20240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7" name="Freeform 1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815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8" name="Freeform 1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629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9" name="Freeform 1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647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0" name="Freeform 1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535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1" name="Freeform 1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387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2" name="Freeform 1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373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3" name="Freeform 1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854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4" name="Freeform 1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557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65" name="Group 117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7329489" y="3309938"/>
            <a:ext cx="46037" cy="374650"/>
            <a:chOff x="3950" y="2430"/>
            <a:chExt cx="36" cy="234"/>
          </a:xfrm>
          <a:solidFill>
            <a:schemeClr val="bg1">
              <a:lumMod val="95000"/>
            </a:schemeClr>
          </a:solidFill>
        </p:grpSpPr>
        <p:sp>
          <p:nvSpPr>
            <p:cNvPr id="2166" name="Freeform 1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7" name="Freeform 1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8" name="Freeform 1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9" name="Rectangle 12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0" name="Line 122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1" name="Freeform 1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2" name="Freeform 1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3" name="Line 125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4" name="Freeform 1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5" name="Freeform 1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6" name="Line 128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7" name="Freeform 1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8" name="Freeform 1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9" name="Freeform 1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0" name="Freeform 1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1" name="Freeform 1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2" name="Freeform 13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3" name="Freeform 13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4" name="Rectangle 136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5" name="Line 137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6" name="Freeform 1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7" name="Freeform 1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8" name="Line 14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9" name="Freeform 1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0" name="Freeform 14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1" name="Line 143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2" name="Freeform 14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3" name="Freeform 14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4" name="Freeform 14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5" name="Freeform 14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6" name="Freeform 14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grpSp>
        <p:nvGrpSpPr>
          <p:cNvPr id="2197" name="Group 149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9394825" y="3810001"/>
            <a:ext cx="185738" cy="214313"/>
            <a:chOff x="5486" y="2743"/>
            <a:chExt cx="137" cy="132"/>
          </a:xfrm>
          <a:solidFill>
            <a:schemeClr val="bg1">
              <a:lumMod val="95000"/>
            </a:schemeClr>
          </a:solidFill>
        </p:grpSpPr>
        <p:sp>
          <p:nvSpPr>
            <p:cNvPr id="2198" name="Freeform 15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9" name="Freeform 15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0" name="Freeform 15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1" name="Freeform 15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2" name="Freeform 15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3" name="Freeform 15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4" name="Freeform 15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5" name="Freeform 15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6" name="Freeform 15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207" name="Freeform 1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740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08" name="Freeform 1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664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09" name="Freeform 1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462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0" name="Freeform 1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789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1" name="Freeform 1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4003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212" name="Group 16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3717925" y="3246439"/>
            <a:ext cx="323850" cy="401637"/>
            <a:chOff x="1486" y="2412"/>
            <a:chExt cx="244" cy="256"/>
          </a:xfrm>
          <a:solidFill>
            <a:schemeClr val="bg1">
              <a:lumMod val="95000"/>
            </a:schemeClr>
          </a:solidFill>
        </p:grpSpPr>
        <p:sp>
          <p:nvSpPr>
            <p:cNvPr id="2213" name="Freeform 1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4" name="Freeform 16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5" name="Freeform 16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6" name="Freeform 16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217" name="Freeform 1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739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8" name="Freeform 1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855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434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8945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0" name="Freeform 1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8945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436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9244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37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9250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38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9226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39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9145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3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8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9"/>
              <a:gd name="T112" fmla="*/ 0 h 259"/>
              <a:gd name="T113" fmla="*/ 159 w 159"/>
              <a:gd name="T114" fmla="*/ 259 h 25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40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9139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41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139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42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9145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443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9099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1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113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0" name="Freeform 1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9120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1" name="Freeform 1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9136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447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9136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3" name="Freeform 1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9120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4" name="Freeform 1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8840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5" name="Freeform 18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8978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6" name="Freeform 18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8912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7" name="Freeform 18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8928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8" name="Freeform 1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8767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9" name="Freeform 1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9012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0" name="Freeform 1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8248650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1" name="Freeform 1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735263" y="2643188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2" name="Freeform 19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4010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3" name="Freeform 19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4179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4" name="Freeform 19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3694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5" name="Freeform 19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4060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6" name="Freeform 19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4025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7" name="Freeform 19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4025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8" name="Freeform 20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3995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9" name="Freeform 20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3970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0" name="Freeform 20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3946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1" name="Freeform 20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3940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2" name="Freeform 20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3840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3" name="Freeform 2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3870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4" name="Freeform 2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3875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5" name="Freeform 2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3889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6" name="Freeform 2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3876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7" name="Freeform 2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3906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8" name="Freeform 2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3903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9" name="Freeform 2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3927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0" name="Freeform 2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3929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1" name="Freeform 2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4003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2" name="Freeform 2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4041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3" name="Freeform 2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3594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4" name="Freeform 2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3451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5" name="Freeform 2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3756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6" name="Freeform 2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3324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7" name="Freeform 2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244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8" name="Freeform 2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292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9" name="Freeform 2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324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0" name="Freeform 2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3341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1" name="Freeform 2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3392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2" name="Freeform 2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3473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3" name="Freeform 2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154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4" name="Freeform 22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5700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5" name="Freeform 2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5627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6" name="Freeform 2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5967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7" name="Freeform 2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5675313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8" name="Freeform 2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5613400" y="1978025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9" name="Freeform 2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5594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0" name="Freeform 2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6354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1" name="Freeform 2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6303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2" name="Freeform 2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5305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3" name="Freeform 2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5118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4" name="Freeform 2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5233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5" name="Freeform 2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5332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6" name="Freeform 23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5768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7" name="Freeform 23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5721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8" name="Freeform 24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5103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9" name="Freeform 2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5072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0" name="Freeform 2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5864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1" name="Freeform 2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5751513" y="1525588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2" name="Freeform 2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5889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3" name="Freeform 2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5334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4" name="Freeform 2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6286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5" name="Freeform 2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5894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6" name="Freeform 2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5830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7" name="Freeform 2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5767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8" name="Freeform 2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5749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9" name="Freeform 2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6283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0" name="Freeform 2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6018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1" name="Freeform 2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6591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2" name="Freeform 2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6267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3" name="Freeform 2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6256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4" name="Freeform 2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6565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5" name="Freeform 2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6589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6" name="Freeform 2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6784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7" name="Freeform 2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6472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8" name="Freeform 2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6972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9" name="Freeform 2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7004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0" name="Freeform 2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7794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1" name="Freeform 2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5118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2" name="Freeform 26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5202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3" name="Freeform 26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5245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4" name="Freeform 2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5459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5" name="Freeform 2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5111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6" name="Freeform 26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537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7" name="Freeform 2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562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8" name="Freeform 2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6291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9" name="Freeform 27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0" name="Freeform 2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8404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1" name="Freeform 27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7475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2" name="Freeform 27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7691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3" name="Freeform 27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681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4" name="Freeform 27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999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5" name="Freeform 2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8081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6" name="Freeform 27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8483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7" name="Freeform 27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9051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8" name="Freeform 2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9244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9" name="Freeform 2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519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330" name="Group 282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8459788" y="3060700"/>
            <a:ext cx="233362" cy="439738"/>
            <a:chOff x="5062" y="2295"/>
            <a:chExt cx="177" cy="279"/>
          </a:xfrm>
          <a:solidFill>
            <a:schemeClr val="bg1">
              <a:lumMod val="95000"/>
            </a:schemeClr>
          </a:solidFill>
        </p:grpSpPr>
        <p:sp>
          <p:nvSpPr>
            <p:cNvPr id="2331" name="Freeform 28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2" name="Freeform 28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3" name="Freeform 28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4" name="Freeform 28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5" name="Freeform 28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6" name="Freeform 28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7" name="Freeform 28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8" name="Freeform 29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9" name="Freeform 29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0" name="Freeform 29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1" name="Freeform 29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2" name="Freeform 29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3" name="Freeform 2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4" name="Freeform 2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5" name="Freeform 2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6" name="Line 298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7" name="Freeform 2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8" name="Line 30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9" name="Freeform 3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0" name="Freeform 30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1" name="Freeform 3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2" name="Freeform 30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3" name="Freeform 30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4" name="Line 306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355" name="Freeform 3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8804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6" name="Freeform 3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8880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7" name="Freeform 3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8928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8" name="Freeform 3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8912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9" name="Freeform 3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8737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0" name="Freeform 3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8664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1" name="Freeform 3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8672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2" name="Freeform 3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8785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3" name="Freeform 3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8645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4" name="Freeform 3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8689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5" name="Freeform 3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8491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6" name="Freeform 3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8589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7" name="Freeform 3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8423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8" name="Freeform 3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8467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9" name="Freeform 3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8520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0" name="Freeform 3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8572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1" name="Freeform 3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8645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2" name="Freeform 3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8220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3" name="Freeform 3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8166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4" name="Freeform 32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8001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566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8026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76" name="Freeform 3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8023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7" name="Freeform 3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7924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8" name="Freeform 3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8453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9" name="Freeform 3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8969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0" name="Freeform 3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907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1" name="Freeform 3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8248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2" name="Freeform 3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8604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3" name="Freeform 3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8720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4" name="Freeform 3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8732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5" name="Freeform 3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8809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6" name="Freeform 33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8497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7" name="Freeform 33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8162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8" name="Freeform 34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8843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9" name="Freeform 3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7375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0" name="Freeform 3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5832475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1" name="Freeform 3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5895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2" name="Freeform 3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5995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3" name="Freeform 3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6008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4" name="Freeform 3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4008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5" name="Freeform 3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6113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6" name="Freeform 3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6030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7" name="Freeform 3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6542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8" name="Freeform 3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7085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9" name="Freeform 3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7134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0" name="Freeform 3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6740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1" name="Freeform 3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949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2" name="Freeform 3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997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3" name="Freeform 3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6081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4" name="Freeform 3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6565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5" name="Freeform 3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6573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6" name="Freeform 3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6372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598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3232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8" name="Freeform 3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3232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9" name="Freeform 3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3240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10" name="Group 362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3232151" y="3622676"/>
            <a:ext cx="417513" cy="201613"/>
            <a:chOff x="912" y="2626"/>
            <a:chExt cx="311" cy="127"/>
          </a:xfrm>
          <a:solidFill>
            <a:schemeClr val="bg1">
              <a:lumMod val="95000"/>
            </a:schemeClr>
          </a:solidFill>
        </p:grpSpPr>
        <p:sp>
          <p:nvSpPr>
            <p:cNvPr id="2411" name="Freeform 36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2" name="Freeform 36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3" name="Freeform 3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14" name="Freeform 3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6880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15" name="Freeform 3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6851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16" name="Group 36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6692901" y="3859214"/>
            <a:ext cx="168275" cy="103187"/>
            <a:chOff x="3481" y="2773"/>
            <a:chExt cx="125" cy="65"/>
          </a:xfrm>
          <a:solidFill>
            <a:schemeClr val="bg1">
              <a:lumMod val="95000"/>
            </a:schemeClr>
          </a:solidFill>
        </p:grpSpPr>
        <p:sp>
          <p:nvSpPr>
            <p:cNvPr id="2417" name="Freeform 36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8" name="Line 37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9" name="Freeform 37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0" name="Freeform 37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1" name="Freeform 37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2" name="Line 374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3" name="Freeform 37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4" name="Freeform 37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5" name="Freeform 37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6" name="Freeform 37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7" name="Freeform 37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28" name="Freeform 3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5821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29" name="Freeform 3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5832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30" name="Freeform 3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5934075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31" name="Freeform 3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6081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32" name="Group 38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4865688" y="3136900"/>
            <a:ext cx="80962" cy="82550"/>
            <a:chOff x="2352" y="2343"/>
            <a:chExt cx="65" cy="53"/>
          </a:xfrm>
          <a:solidFill>
            <a:schemeClr val="bg1">
              <a:lumMod val="95000"/>
            </a:schemeClr>
          </a:solidFill>
        </p:grpSpPr>
        <p:sp>
          <p:nvSpPr>
            <p:cNvPr id="2433" name="Freeform 38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4" name="Freeform 38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5" name="Freeform 38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6" name="Freeform 38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7" name="Freeform 38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8" name="Freeform 39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grpSp>
        <p:nvGrpSpPr>
          <p:cNvPr id="2439" name="Group 391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2711451" y="1196976"/>
            <a:ext cx="1897063" cy="1133475"/>
            <a:chOff x="527" y="1110"/>
            <a:chExt cx="1410" cy="709"/>
          </a:xfrm>
          <a:solidFill>
            <a:schemeClr val="bg1">
              <a:lumMod val="95000"/>
            </a:schemeClr>
          </a:solidFill>
        </p:grpSpPr>
        <p:sp>
          <p:nvSpPr>
            <p:cNvPr id="2440" name="Freeform 39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1" name="Freeform 39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2" name="Freeform 39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3" name="Freeform 3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4" name="Freeform 3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5" name="Freeform 3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6" name="Freeform 39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7" name="Freeform 3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8" name="Freeform 40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9" name="Freeform 4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0" name="Freeform 40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1" name="Freeform 4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2" name="Freeform 40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3" name="Freeform 40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4" name="Freeform 40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5" name="Freeform 40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6" name="Freeform 40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7" name="Freeform 40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8" name="Freeform 41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9" name="Freeform 41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0" name="Freeform 41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1" name="Freeform 41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2" name="Freeform 41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3" name="Freeform 41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4" name="Freeform 41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5" name="Freeform 41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6" name="Freeform 4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7" name="Freeform 4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8" name="Freeform 4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9" name="Freeform 4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0" name="Freeform 42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1" name="Freeform 4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2" name="Freeform 4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3" name="Freeform 4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4" name="Freeform 4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5" name="Freeform 4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6" name="Freeform 42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7" name="Freeform 4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8" name="Freeform 4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9" name="Freeform 4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0" name="Freeform 4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1" name="Freeform 4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82" name="Freeform 4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6281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3" name="Freeform 4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6388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4" name="Freeform 4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5878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5" name="Freeform 4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554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86" name="Group 43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3854451" y="4371976"/>
            <a:ext cx="384175" cy="1031875"/>
            <a:chOff x="1589" y="3126"/>
            <a:chExt cx="290" cy="657"/>
          </a:xfrm>
          <a:solidFill>
            <a:schemeClr val="bg1">
              <a:lumMod val="95000"/>
            </a:schemeClr>
          </a:solidFill>
        </p:grpSpPr>
        <p:sp>
          <p:nvSpPr>
            <p:cNvPr id="2487" name="Freeform 4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8" name="Freeform 4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9" name="Freeform 4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90" name="Freeform 4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6564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1" name="Freeform 4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6030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2" name="Freeform 4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5888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3" name="Freeform 4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52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4" name="Freeform 4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046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5" name="Freeform 4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5402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6" name="Freeform 4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5749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7" name="Freeform 4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8201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8" name="Freeform 4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3556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9" name="Freeform 4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5808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0" name="Freeform 4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5840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1" name="Freeform 4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5791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2" name="Freeform 4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5754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3" name="Freeform 4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5726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4" name="Freeform 4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5695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5" name="Freeform 4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6127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6" name="Freeform 4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722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7" name="Freeform 4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536257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8" name="Freeform 4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6443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9" name="Freeform 4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992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0" name="Freeform 4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076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1" name="Freeform 4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5156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2" name="Freeform 46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200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3" name="Freeform 46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322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4" name="Freeform 4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6391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5" name="Freeform 4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6373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6" name="Freeform 46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6672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7" name="Freeform 4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5959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8" name="Freeform 4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6370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9" name="Freeform 47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0" name="Freeform 4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957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1" name="Freeform 47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5664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2" name="Freeform 47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6361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3" name="Freeform 47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5853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4" name="Freeform 47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6172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5" name="Freeform 4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6084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6" name="Freeform 47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821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7" name="Freeform 47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5100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8" name="Freeform 4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6273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9" name="Freeform 4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8837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0" name="Freeform 4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8696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1" name="Freeform 4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8666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2" name="Freeform 48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8612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3" name="Freeform 4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8628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4" name="Freeform 4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6211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5" name="Freeform 48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6354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6" name="Freeform 48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6391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7" name="Freeform 48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6924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8" name="Freeform 4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6834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9" name="Freeform 4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6856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0" name="Freeform 4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7000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1" name="Freeform 4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7054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2" name="Freeform 49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7115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3" name="Freeform 49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7232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4" name="Freeform 49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7759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5" name="Freeform 49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7826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6" name="Freeform 49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7856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7" name="Freeform 49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7627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8" name="Freeform 50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7927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9" name="Freeform 50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8088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0" name="Freeform 50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8048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1" name="Freeform 50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8027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14678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8029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53" name="Freeform 5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199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4" name="Freeform 5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948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5" name="Freeform 5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902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6" name="Freeform 5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8402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7" name="Freeform 5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8696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8" name="Freeform 5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8832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9" name="Freeform 5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8982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0" name="Freeform 5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9032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1" name="Freeform 5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8897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2" name="Freeform 5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8909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3" name="Freeform 5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8896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4" name="Freeform 5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8874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5" name="Freeform 5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8874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6" name="Freeform 5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8628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7" name="Freeform 5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943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8" name="Freeform 5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6392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9" name="Freeform 5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6427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0" name="Freeform 5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6219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1" name="Freeform 5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8524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572" name="Group 52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7315201" y="1889126"/>
            <a:ext cx="671513" cy="384175"/>
            <a:chOff x="4115" y="1551"/>
            <a:chExt cx="504" cy="244"/>
          </a:xfrm>
          <a:solidFill>
            <a:schemeClr val="bg1">
              <a:lumMod val="95000"/>
            </a:schemeClr>
          </a:solidFill>
        </p:grpSpPr>
        <p:sp>
          <p:nvSpPr>
            <p:cNvPr id="2573" name="Freeform 5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74" name="Freeform 5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575" name="Freeform 5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6372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6" name="Freeform 5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5846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7" name="Freeform 5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5586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8" name="Freeform 5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5178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9" name="Freeform 5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5119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0" name="Freeform 5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5094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1" name="Freeform 5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6365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2" name="Freeform 5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8459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583" name="Group 535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6107113" y="2328863"/>
            <a:ext cx="482600" cy="201612"/>
            <a:chOff x="3289" y="1830"/>
            <a:chExt cx="363" cy="128"/>
          </a:xfrm>
          <a:solidFill>
            <a:schemeClr val="bg1">
              <a:lumMod val="95000"/>
            </a:schemeClr>
          </a:solidFill>
        </p:grpSpPr>
        <p:sp>
          <p:nvSpPr>
            <p:cNvPr id="2584" name="Freeform 53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5" name="Freeform 53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6" name="Freeform 5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7" name="Freeform 5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8" name="Freeform 5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589" name="Freeform 5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4095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0" name="Freeform 5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8040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1" name="Freeform 5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8128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2" name="Freeform 5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6819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3" name="Freeform 5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5546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4" name="Freeform 5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216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5" name="Freeform 5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916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6" name="Freeform 5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6427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7" name="Freeform 5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6570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8" name="Freeform 5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6607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pic>
        <p:nvPicPr>
          <p:cNvPr id="14718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84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19" name="CuadroTexto 551"/>
          <p:cNvSpPr txBox="1">
            <a:spLocks noChangeArrowheads="1"/>
          </p:cNvSpPr>
          <p:nvPr/>
        </p:nvSpPr>
        <p:spPr bwMode="auto">
          <a:xfrm>
            <a:off x="2035175" y="1333500"/>
            <a:ext cx="7794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es-CL" sz="3200" b="1">
              <a:solidFill>
                <a:srgbClr val="FF0000"/>
              </a:solidFill>
              <a:latin typeface="Calibri" pitchFamily="34" charset="0"/>
            </a:endParaRPr>
          </a:p>
          <a:p>
            <a:pPr algn="ctr"/>
            <a:r>
              <a:rPr lang="es-CL" sz="3200" b="1">
                <a:solidFill>
                  <a:srgbClr val="FF0000"/>
                </a:solidFill>
                <a:latin typeface="Calibri" pitchFamily="34" charset="0"/>
              </a:rPr>
              <a:t>Ways forward</a:t>
            </a:r>
          </a:p>
          <a:p>
            <a:pPr algn="ctr"/>
            <a:r>
              <a:rPr lang="es-CL" sz="3200" b="1">
                <a:latin typeface="Calibri" pitchFamily="34" charset="0"/>
              </a:rPr>
              <a:t>B20 Argentina 2018 </a:t>
            </a:r>
          </a:p>
          <a:p>
            <a:pPr algn="ctr"/>
            <a:endParaRPr lang="es-CL" sz="3200" b="1">
              <a:latin typeface="Calibri" pitchFamily="34" charset="0"/>
            </a:endParaRPr>
          </a:p>
          <a:p>
            <a:pPr algn="ctr"/>
            <a:endParaRPr lang="es-CL" sz="3200">
              <a:latin typeface="Calibri" pitchFamily="34" charset="0"/>
            </a:endParaRPr>
          </a:p>
          <a:p>
            <a:pPr algn="ctr"/>
            <a:endParaRPr lang="es-CL" sz="3200">
              <a:latin typeface="Calibri" pitchFamily="34" charset="0"/>
            </a:endParaRPr>
          </a:p>
          <a:p>
            <a:pPr algn="ctr"/>
            <a:r>
              <a:rPr lang="es-CL" sz="2800">
                <a:latin typeface="Calibri" pitchFamily="34" charset="0"/>
              </a:rPr>
              <a:t>CICA Conference:”Meeting the infrastructure needs”</a:t>
            </a:r>
          </a:p>
          <a:p>
            <a:pPr algn="ctr"/>
            <a:r>
              <a:rPr lang="es-CL">
                <a:latin typeface="Calibri" pitchFamily="34" charset="0"/>
              </a:rPr>
              <a:t>November 7th, 2017- Paris</a:t>
            </a:r>
          </a:p>
        </p:txBody>
      </p:sp>
      <p:sp>
        <p:nvSpPr>
          <p:cNvPr id="14720" name="CuadroTexto 552"/>
          <p:cNvSpPr txBox="1">
            <a:spLocks noChangeArrowheads="1"/>
          </p:cNvSpPr>
          <p:nvPr/>
        </p:nvSpPr>
        <p:spPr bwMode="auto">
          <a:xfrm>
            <a:off x="531813" y="5565775"/>
            <a:ext cx="48926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CL">
                <a:latin typeface="Calibri" pitchFamily="34" charset="0"/>
              </a:rPr>
              <a:t>FERNANDO LAGO </a:t>
            </a:r>
          </a:p>
          <a:p>
            <a:r>
              <a:rPr lang="es-CL">
                <a:latin typeface="Calibri" pitchFamily="34" charset="0"/>
              </a:rPr>
              <a:t>Cámara Argentina de la Construcción</a:t>
            </a:r>
          </a:p>
          <a:p>
            <a:r>
              <a:rPr lang="es-CL">
                <a:latin typeface="Calibri" pitchFamily="34" charset="0"/>
              </a:rPr>
              <a:t>FIIC Board member</a:t>
            </a:r>
          </a:p>
          <a:p>
            <a:r>
              <a:rPr lang="es-CL">
                <a:latin typeface="Calibri" pitchFamily="34" charset="0"/>
              </a:rPr>
              <a:t>CICA PPPWG Lead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7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1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10283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2" name="Marcador de contenido 6"/>
          <p:cNvSpPr>
            <a:spLocks noGrp="1"/>
          </p:cNvSpPr>
          <p:nvPr>
            <p:ph sz="quarter" idx="4"/>
          </p:nvPr>
        </p:nvSpPr>
        <p:spPr>
          <a:xfrm>
            <a:off x="10928350" y="1293813"/>
            <a:ext cx="606425" cy="5219700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es-ES_tradnl" smtClean="0">
                <a:sym typeface="Wingdings" pitchFamily="2" charset="2"/>
              </a:rPr>
              <a:t></a:t>
            </a:r>
          </a:p>
          <a:p>
            <a:pPr marL="0" indent="0">
              <a:buFont typeface="Arial" charset="0"/>
              <a:buNone/>
            </a:pPr>
            <a:r>
              <a:rPr lang="es-ES_tradnl" smtClean="0">
                <a:sym typeface="Wingdings" pitchFamily="2" charset="2"/>
              </a:rPr>
              <a:t></a:t>
            </a:r>
          </a:p>
          <a:p>
            <a:pPr marL="0" indent="0">
              <a:buFont typeface="Arial" charset="0"/>
              <a:buNone/>
            </a:pPr>
            <a:r>
              <a:rPr lang="es-ES_tradnl" smtClean="0">
                <a:sym typeface="Wingdings" pitchFamily="2" charset="2"/>
              </a:rPr>
              <a:t></a:t>
            </a:r>
          </a:p>
          <a:p>
            <a:pPr marL="0" indent="0">
              <a:buFont typeface="Arial" charset="0"/>
              <a:buNone/>
            </a:pPr>
            <a:endParaRPr lang="es-ES_tradnl" smtClean="0"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endParaRPr lang="es-ES_tradnl" smtClean="0"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r>
              <a:rPr lang="es-ES_tradnl" smtClean="0">
                <a:sym typeface="Wingdings" pitchFamily="2" charset="2"/>
              </a:rPr>
              <a:t></a:t>
            </a:r>
          </a:p>
          <a:p>
            <a:pPr marL="0" indent="0">
              <a:buFont typeface="Arial" charset="0"/>
              <a:buNone/>
            </a:pPr>
            <a:r>
              <a:rPr lang="es-ES_tradnl" smtClean="0">
                <a:sym typeface="Wingdings" pitchFamily="2" charset="2"/>
              </a:rPr>
              <a:t></a:t>
            </a:r>
            <a:endParaRPr lang="es-ES_tradnl" smtClean="0"/>
          </a:p>
        </p:txBody>
      </p:sp>
      <p:sp>
        <p:nvSpPr>
          <p:cNvPr id="8" name="Flecha izquierda 7"/>
          <p:cNvSpPr/>
          <p:nvPr/>
        </p:nvSpPr>
        <p:spPr>
          <a:xfrm>
            <a:off x="9664700" y="4627563"/>
            <a:ext cx="871538" cy="59213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01613"/>
            <a:ext cx="12192000" cy="685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ángulo 1"/>
          <p:cNvSpPr/>
          <p:nvPr/>
        </p:nvSpPr>
        <p:spPr>
          <a:xfrm>
            <a:off x="4094163" y="3278188"/>
            <a:ext cx="1730375" cy="80486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  <p:sp>
        <p:nvSpPr>
          <p:cNvPr id="4" name="Rectángulo 3"/>
          <p:cNvSpPr/>
          <p:nvPr/>
        </p:nvSpPr>
        <p:spPr>
          <a:xfrm>
            <a:off x="7005638" y="3108325"/>
            <a:ext cx="1504950" cy="520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  <p:sp>
        <p:nvSpPr>
          <p:cNvPr id="5" name="Rectángulo 4"/>
          <p:cNvSpPr/>
          <p:nvPr/>
        </p:nvSpPr>
        <p:spPr>
          <a:xfrm>
            <a:off x="5500688" y="5219700"/>
            <a:ext cx="942975" cy="70326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0413" y="0"/>
            <a:ext cx="114315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lecha derecha 4"/>
          <p:cNvSpPr/>
          <p:nvPr/>
        </p:nvSpPr>
        <p:spPr>
          <a:xfrm>
            <a:off x="0" y="3314700"/>
            <a:ext cx="760413" cy="4699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alpha val="1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Imagen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92125"/>
            <a:ext cx="12192000" cy="510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5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 useBgFill="1">
        <p:nvSpPr>
          <p:cNvPr id="28676" name="CuadroTexto 3"/>
          <p:cNvSpPr txBox="1">
            <a:spLocks noChangeArrowheads="1"/>
          </p:cNvSpPr>
          <p:nvPr/>
        </p:nvSpPr>
        <p:spPr bwMode="auto">
          <a:xfrm>
            <a:off x="352425" y="5949950"/>
            <a:ext cx="8653463" cy="83185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_tradnl" sz="2400" b="1">
                <a:latin typeface="Calibri" pitchFamily="34" charset="0"/>
              </a:rPr>
              <a:t>B20 Germany 2017: </a:t>
            </a:r>
          </a:p>
          <a:p>
            <a:r>
              <a:rPr lang="es-ES_tradnl" sz="2400" b="1">
                <a:latin typeface="Calibri" pitchFamily="34" charset="0"/>
              </a:rPr>
              <a:t>Financing Growth and Infrastructure Task Force Recommendations</a:t>
            </a:r>
          </a:p>
        </p:txBody>
      </p:sp>
      <p:sp>
        <p:nvSpPr>
          <p:cNvPr id="5" name="Rectángulo 4"/>
          <p:cNvSpPr/>
          <p:nvPr/>
        </p:nvSpPr>
        <p:spPr>
          <a:xfrm>
            <a:off x="4910138" y="1785938"/>
            <a:ext cx="2390775" cy="1211262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ángulo 1"/>
          <p:cNvSpPr>
            <a:spLocks noChangeArrowheads="1"/>
          </p:cNvSpPr>
          <p:nvPr/>
        </p:nvSpPr>
        <p:spPr bwMode="auto">
          <a:xfrm>
            <a:off x="928688" y="858838"/>
            <a:ext cx="10198100" cy="495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800" b="1"/>
              <a:t>B20 Germany 2017:</a:t>
            </a:r>
          </a:p>
          <a:p>
            <a:r>
              <a:rPr lang="en-US" sz="2800" b="1"/>
              <a:t>Financing Growth &amp; Infrastructure Taskforce </a:t>
            </a:r>
          </a:p>
          <a:p>
            <a:r>
              <a:rPr lang="en-US" sz="2000" b="1">
                <a:solidFill>
                  <a:srgbClr val="000000"/>
                </a:solidFill>
              </a:rPr>
              <a:t>Chair </a:t>
            </a:r>
            <a:endParaRPr lang="en-US" sz="2000">
              <a:solidFill>
                <a:srgbClr val="000000"/>
              </a:solidFill>
            </a:endParaRPr>
          </a:p>
          <a:p>
            <a:r>
              <a:rPr lang="es-ES_tradnl">
                <a:solidFill>
                  <a:srgbClr val="000000"/>
                </a:solidFill>
              </a:rPr>
              <a:t>Oliver Bäte, CEO, Allianz 	</a:t>
            </a:r>
          </a:p>
          <a:p>
            <a:r>
              <a:rPr lang="es-ES_tradnl" sz="2000" b="1">
                <a:solidFill>
                  <a:srgbClr val="000000"/>
                </a:solidFill>
              </a:rPr>
              <a:t>Co-Chairs </a:t>
            </a:r>
            <a:endParaRPr lang="es-ES_tradnl" sz="2000">
              <a:solidFill>
                <a:srgbClr val="000000"/>
              </a:solidFill>
            </a:endParaRPr>
          </a:p>
          <a:p>
            <a:r>
              <a:rPr lang="es-ES_tradnl">
                <a:solidFill>
                  <a:srgbClr val="000000"/>
                </a:solidFill>
              </a:rPr>
              <a:t>John Cryan, CEO, Deutsche Bank </a:t>
            </a:r>
          </a:p>
          <a:p>
            <a:r>
              <a:rPr lang="es-ES_tradnl">
                <a:solidFill>
                  <a:srgbClr val="000000"/>
                </a:solidFill>
              </a:rPr>
              <a:t>Axel Weber, Chairman, UBS </a:t>
            </a:r>
          </a:p>
          <a:p>
            <a:r>
              <a:rPr lang="es-ES_tradnl">
                <a:solidFill>
                  <a:srgbClr val="000000"/>
                </a:solidFill>
              </a:rPr>
              <a:t>Jose Manuel González-Páramo, Executive board director, BBVA </a:t>
            </a:r>
          </a:p>
          <a:p>
            <a:r>
              <a:rPr lang="en-US">
                <a:solidFill>
                  <a:srgbClr val="000000"/>
                </a:solidFill>
              </a:rPr>
              <a:t>Timothy Adams, President and CEO, IIF 	</a:t>
            </a:r>
          </a:p>
          <a:p>
            <a:r>
              <a:rPr lang="en-US">
                <a:solidFill>
                  <a:srgbClr val="000000"/>
                </a:solidFill>
              </a:rPr>
              <a:t>Jean Lemierre, Chairman of the Board, BNP Paribas </a:t>
            </a:r>
          </a:p>
          <a:p>
            <a:r>
              <a:rPr lang="es-ES_tradnl">
                <a:solidFill>
                  <a:srgbClr val="000000"/>
                </a:solidFill>
              </a:rPr>
              <a:t>Ju Weimin, Executive Vice President, CIC </a:t>
            </a:r>
          </a:p>
          <a:p>
            <a:r>
              <a:rPr lang="en-US">
                <a:solidFill>
                  <a:srgbClr val="000000"/>
                </a:solidFill>
              </a:rPr>
              <a:t>John W.H. Denton, CEO, Corrs Chambers Westgarth 	</a:t>
            </a:r>
          </a:p>
          <a:p>
            <a:r>
              <a:rPr lang="es-ES_tradnl" sz="2000" b="1">
                <a:solidFill>
                  <a:srgbClr val="000000"/>
                </a:solidFill>
              </a:rPr>
              <a:t>Knowledge Partner </a:t>
            </a:r>
            <a:endParaRPr lang="es-ES_tradnl" sz="2000">
              <a:solidFill>
                <a:srgbClr val="000000"/>
              </a:solidFill>
            </a:endParaRPr>
          </a:p>
          <a:p>
            <a:r>
              <a:rPr lang="es-ES_tradnl">
                <a:solidFill>
                  <a:srgbClr val="000000"/>
                </a:solidFill>
              </a:rPr>
              <a:t>Accenture 	</a:t>
            </a:r>
          </a:p>
          <a:p>
            <a:r>
              <a:rPr lang="es-ES_tradnl" sz="2000" b="1">
                <a:solidFill>
                  <a:srgbClr val="000000"/>
                </a:solidFill>
              </a:rPr>
              <a:t>Network Partners </a:t>
            </a:r>
            <a:endParaRPr lang="es-ES_tradnl" sz="2000">
              <a:solidFill>
                <a:srgbClr val="000000"/>
              </a:solidFill>
            </a:endParaRPr>
          </a:p>
          <a:p>
            <a:r>
              <a:rPr lang="es-ES_tradnl">
                <a:solidFill>
                  <a:srgbClr val="000000"/>
                </a:solidFill>
              </a:rPr>
              <a:t>IIF; G20 YEA; WEF 	</a:t>
            </a:r>
          </a:p>
        </p:txBody>
      </p:sp>
      <p:pic>
        <p:nvPicPr>
          <p:cNvPr id="29698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043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3" name="Freeform 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201863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4" name="Freeform 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662238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5" name="Freeform 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95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6" name="Freeform 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5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7" name="Freeform 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00463" y="3508375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8" name="Freeform 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13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59" name="Freeform 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11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0" name="Freeform 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392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1" name="Freeform 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751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2" name="Freeform 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243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3" name="Freeform 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35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4" name="Freeform 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72138" y="1925638"/>
            <a:ext cx="182562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5" name="Freeform 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697538" y="2182813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66" name="Freeform 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715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067" name="Group 19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34339" y="3411539"/>
            <a:ext cx="473075" cy="212725"/>
            <a:chOff x="4488" y="2394"/>
            <a:chExt cx="358" cy="124"/>
          </a:xfrm>
          <a:solidFill>
            <a:schemeClr val="bg1">
              <a:lumMod val="95000"/>
            </a:schemeClr>
          </a:solidFill>
        </p:grpSpPr>
        <p:sp>
          <p:nvSpPr>
            <p:cNvPr id="2068" name="Freeform 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069" name="Freeform 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070" name="Freeform 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056313" y="1287463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1" name="Freeform 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319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2" name="Freeform 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951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3" name="Freeform 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060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741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2522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525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6" name="Freeform 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501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7" name="Freeform 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827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8" name="Freeform 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565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79" name="Freeform 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96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0" name="Freeform 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603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1" name="Freeform 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446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2" name="Freeform 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908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3" name="Freeform 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772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4" name="Freeform 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891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85" name="Freeform 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378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086" name="Group 3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4230689" y="5295901"/>
            <a:ext cx="65087" cy="55563"/>
            <a:chOff x="1654" y="3671"/>
            <a:chExt cx="49" cy="17"/>
          </a:xfrm>
          <a:solidFill>
            <a:schemeClr val="bg1">
              <a:lumMod val="95000"/>
            </a:schemeClr>
          </a:solidFill>
        </p:grpSpPr>
        <p:sp>
          <p:nvSpPr>
            <p:cNvPr id="2087" name="Freeform 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088" name="Freeform 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089" name="Freeform 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878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0" name="Freeform 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933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1" name="Freeform 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46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2" name="Freeform 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960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3" name="Freeform 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940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4" name="Freeform 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989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760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3997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61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3997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7" name="Freeform 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997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8" name="Freeform 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03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099" name="Freeform 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10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0" name="Freeform 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019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1" name="Freeform 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041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2" name="Freeform 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003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3" name="Freeform 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989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4" name="Freeform 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008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05" name="Freeform 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490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06" name="Group 5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3616326" y="2817813"/>
            <a:ext cx="131763" cy="195262"/>
            <a:chOff x="1199" y="2121"/>
            <a:chExt cx="97" cy="123"/>
          </a:xfrm>
          <a:solidFill>
            <a:schemeClr val="bg1">
              <a:lumMod val="95000"/>
            </a:schemeClr>
          </a:solidFill>
        </p:grpSpPr>
        <p:sp>
          <p:nvSpPr>
            <p:cNvPr id="2107" name="Freeform 5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08" name="Freeform 6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09" name="Freeform 6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0" name="Freeform 6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1" name="Freeform 6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2" name="Freeform 6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3" name="Freeform 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4" name="Freeform 6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5" name="Freeform 6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16" name="Freeform 6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30772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429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73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9439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74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553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75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553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0776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9244013" y="4738688"/>
            <a:ext cx="458787" cy="404812"/>
            <a:chOff x="5372" y="3323"/>
            <a:chExt cx="341" cy="253"/>
          </a:xfrm>
        </p:grpSpPr>
        <p:sp>
          <p:nvSpPr>
            <p:cNvPr id="31104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05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31"/>
                <a:gd name="T133" fmla="*/ 0 h 358"/>
                <a:gd name="T134" fmla="*/ 631 w 631"/>
                <a:gd name="T135" fmla="*/ 358 h 3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06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5" name="Freeform 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886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778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613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79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36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50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29" name="Freeform 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009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0" name="Freeform 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121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1" name="Freeform 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274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2" name="Freeform 8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337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3" name="Freeform 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9194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4" name="Freeform 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137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787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9337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88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293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89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9326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8" name="Freeform 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9347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39" name="Freeform 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301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40" name="Freeform 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294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41" name="Freeform 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375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42" name="Group 9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9250363" y="3367088"/>
            <a:ext cx="163512" cy="114300"/>
            <a:chOff x="5379" y="2466"/>
            <a:chExt cx="122" cy="71"/>
          </a:xfrm>
          <a:solidFill>
            <a:schemeClr val="bg1">
              <a:lumMod val="95000"/>
            </a:schemeClr>
          </a:solidFill>
        </p:grpSpPr>
        <p:sp>
          <p:nvSpPr>
            <p:cNvPr id="2143" name="Freeform 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4" name="Freeform 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5" name="Freeform 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6" name="Freeform 9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7" name="Freeform 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8" name="Line 10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49" name="Freeform 1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50" name="Line 102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51" name="Freeform 1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152" name="Freeform 10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34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3" name="Freeform 1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4733925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4" name="Freeform 1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035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5" name="Freeform 1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9190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6" name="Freeform 1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209088" y="20240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7" name="Freeform 1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815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8" name="Freeform 1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629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59" name="Freeform 1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647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0" name="Freeform 1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535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1" name="Freeform 1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387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2" name="Freeform 1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373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3" name="Freeform 1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854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164" name="Freeform 1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557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165" name="Group 117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7329489" y="3309938"/>
            <a:ext cx="46037" cy="374650"/>
            <a:chOff x="3950" y="2430"/>
            <a:chExt cx="36" cy="234"/>
          </a:xfrm>
          <a:solidFill>
            <a:schemeClr val="bg1">
              <a:lumMod val="95000"/>
            </a:schemeClr>
          </a:solidFill>
        </p:grpSpPr>
        <p:sp>
          <p:nvSpPr>
            <p:cNvPr id="2166" name="Freeform 1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7" name="Freeform 1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8" name="Freeform 1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69" name="Rectangle 121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0" name="Line 122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1" name="Freeform 1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2" name="Freeform 1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3" name="Line 125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4" name="Freeform 1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5" name="Freeform 1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6" name="Line 128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7" name="Freeform 1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8" name="Freeform 1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79" name="Freeform 1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0" name="Freeform 1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1" name="Freeform 1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2" name="Freeform 13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3" name="Freeform 13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4" name="Rectangle 136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5" name="Line 137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6" name="Freeform 1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7" name="Freeform 1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8" name="Line 14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89" name="Freeform 1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0" name="Freeform 14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1" name="Line 143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2" name="Freeform 14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3" name="Freeform 14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4" name="Freeform 14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5" name="Freeform 14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6" name="Freeform 14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grpSp>
        <p:nvGrpSpPr>
          <p:cNvPr id="2197" name="Group 149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9394825" y="3810001"/>
            <a:ext cx="185738" cy="214313"/>
            <a:chOff x="5486" y="2743"/>
            <a:chExt cx="137" cy="132"/>
          </a:xfrm>
          <a:solidFill>
            <a:schemeClr val="bg1">
              <a:lumMod val="95000"/>
            </a:schemeClr>
          </a:solidFill>
        </p:grpSpPr>
        <p:sp>
          <p:nvSpPr>
            <p:cNvPr id="2198" name="Freeform 15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199" name="Freeform 15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0" name="Freeform 15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1" name="Freeform 15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2" name="Freeform 15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3" name="Freeform 15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4" name="Freeform 15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5" name="Freeform 15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06" name="Freeform 15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207" name="Freeform 1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740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08" name="Freeform 1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664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09" name="Freeform 1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462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0" name="Freeform 1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789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1" name="Freeform 1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4003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212" name="Group 16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3717925" y="3246439"/>
            <a:ext cx="323850" cy="401637"/>
            <a:chOff x="1486" y="2412"/>
            <a:chExt cx="244" cy="256"/>
          </a:xfrm>
          <a:solidFill>
            <a:schemeClr val="bg1">
              <a:lumMod val="95000"/>
            </a:schemeClr>
          </a:solidFill>
        </p:grpSpPr>
        <p:sp>
          <p:nvSpPr>
            <p:cNvPr id="2213" name="Freeform 1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4" name="Freeform 16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5" name="Freeform 16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216" name="Freeform 16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217" name="Freeform 1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739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18" name="Freeform 1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855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818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8945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0" name="Freeform 1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8945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820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9244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1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9250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2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9226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3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9145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3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8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9"/>
              <a:gd name="T112" fmla="*/ 0 h 259"/>
              <a:gd name="T113" fmla="*/ 159 w 159"/>
              <a:gd name="T114" fmla="*/ 259 h 25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4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9139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5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139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6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9145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827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9099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1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113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0" name="Freeform 1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9120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1" name="Freeform 1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9136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831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9136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3" name="Freeform 1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9120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4" name="Freeform 1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8840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5" name="Freeform 18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8978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6" name="Freeform 18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8912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7" name="Freeform 18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8928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8" name="Freeform 1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8767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39" name="Freeform 1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9012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0" name="Freeform 1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8248650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1" name="Freeform 1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735263" y="2643188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2" name="Freeform 19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4010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3" name="Freeform 19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4179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4" name="Freeform 19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3694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5" name="Freeform 19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4060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6" name="Freeform 19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4025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7" name="Freeform 19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4025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8" name="Freeform 20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3995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49" name="Freeform 20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3970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0" name="Freeform 20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3946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1" name="Freeform 20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3940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2" name="Freeform 20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3840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3" name="Freeform 2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3870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4" name="Freeform 2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3875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5" name="Freeform 2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3889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6" name="Freeform 2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3876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7" name="Freeform 2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3906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8" name="Freeform 2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3903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59" name="Freeform 2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3927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0" name="Freeform 2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3929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1" name="Freeform 2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4003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2" name="Freeform 2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4041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3" name="Freeform 2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3594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4" name="Freeform 2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3451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5" name="Freeform 2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3756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6" name="Freeform 2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3324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7" name="Freeform 2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244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8" name="Freeform 2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292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69" name="Freeform 2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324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0" name="Freeform 2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3341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1" name="Freeform 2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3392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2" name="Freeform 2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3473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3" name="Freeform 2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154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4" name="Freeform 22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5700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5" name="Freeform 2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5627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6" name="Freeform 2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5967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7" name="Freeform 2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5675313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8" name="Freeform 2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5613400" y="1978025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79" name="Freeform 2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5594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0" name="Freeform 2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6354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1" name="Freeform 2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6303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2" name="Freeform 2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5305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3" name="Freeform 2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5118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4" name="Freeform 2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5233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5" name="Freeform 2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5332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6" name="Freeform 23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5768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7" name="Freeform 23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5721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8" name="Freeform 24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5103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89" name="Freeform 2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5072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0" name="Freeform 2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5864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1" name="Freeform 2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5751513" y="1525588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2" name="Freeform 2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5889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3" name="Freeform 2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5334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4" name="Freeform 2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6286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5" name="Freeform 2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5894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6" name="Freeform 2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5830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7" name="Freeform 2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5767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8" name="Freeform 2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5749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299" name="Freeform 2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6283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0" name="Freeform 2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6018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1" name="Freeform 2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6591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2" name="Freeform 2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6267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3" name="Freeform 2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6256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4" name="Freeform 2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6565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5" name="Freeform 2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6589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6" name="Freeform 2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6784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7" name="Freeform 2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6472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8" name="Freeform 2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6972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09" name="Freeform 2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7004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0" name="Freeform 2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7794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1" name="Freeform 2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5118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2" name="Freeform 26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5202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3" name="Freeform 26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5245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4" name="Freeform 2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5459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5" name="Freeform 2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5111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6" name="Freeform 26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537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7" name="Freeform 2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562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8" name="Freeform 2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6291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19" name="Freeform 27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0" name="Freeform 2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8404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1" name="Freeform 27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7475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2" name="Freeform 27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7691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3" name="Freeform 27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681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4" name="Freeform 27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999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5" name="Freeform 2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8081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6" name="Freeform 27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8483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7" name="Freeform 27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9051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8" name="Freeform 2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9244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29" name="Freeform 2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519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330" name="Group 282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8459788" y="3060700"/>
            <a:ext cx="233362" cy="439738"/>
            <a:chOff x="5062" y="2295"/>
            <a:chExt cx="177" cy="279"/>
          </a:xfrm>
          <a:solidFill>
            <a:schemeClr val="bg1">
              <a:lumMod val="95000"/>
            </a:schemeClr>
          </a:solidFill>
        </p:grpSpPr>
        <p:sp>
          <p:nvSpPr>
            <p:cNvPr id="2331" name="Freeform 28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2" name="Freeform 28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3" name="Freeform 28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4" name="Freeform 28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5" name="Freeform 28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6" name="Freeform 28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7" name="Freeform 28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8" name="Freeform 29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39" name="Freeform 29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0" name="Freeform 29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1" name="Freeform 29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2" name="Freeform 29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3" name="Freeform 2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4" name="Freeform 2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5" name="Freeform 2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6" name="Line 298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7" name="Freeform 2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8" name="Line 30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49" name="Freeform 3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0" name="Freeform 30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1" name="Freeform 3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2" name="Freeform 30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3" name="Freeform 30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354" name="Line 306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355" name="Freeform 3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8804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6" name="Freeform 3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8880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7" name="Freeform 3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8928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8" name="Freeform 3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8912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59" name="Freeform 3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8737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0" name="Freeform 3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8664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1" name="Freeform 3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8672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2" name="Freeform 3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8785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3" name="Freeform 3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8645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4" name="Freeform 3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8689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5" name="Freeform 3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8491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6" name="Freeform 3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8589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7" name="Freeform 3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8423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8" name="Freeform 3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8467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69" name="Freeform 3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8520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0" name="Freeform 3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8572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1" name="Freeform 3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8645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2" name="Freeform 32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8220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3" name="Freeform 32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8166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4" name="Freeform 32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8001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950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8026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76" name="Freeform 3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8023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7" name="Freeform 3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7924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8" name="Freeform 3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8453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79" name="Freeform 3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8969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0" name="Freeform 3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907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1" name="Freeform 3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8248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2" name="Freeform 3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8604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3" name="Freeform 3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8720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4" name="Freeform 3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8732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5" name="Freeform 3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8809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6" name="Freeform 33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8497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7" name="Freeform 33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8162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8" name="Freeform 34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8843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89" name="Freeform 3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7375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0" name="Freeform 3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5832475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1" name="Freeform 3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5895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2" name="Freeform 3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5995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3" name="Freeform 3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6008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4" name="Freeform 3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4008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5" name="Freeform 3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6113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6" name="Freeform 3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6030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7" name="Freeform 3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6542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8" name="Freeform 3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7085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399" name="Freeform 3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7134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0" name="Freeform 3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6740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1" name="Freeform 3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949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2" name="Freeform 3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997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3" name="Freeform 3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6081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4" name="Freeform 3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6565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5" name="Freeform 3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6573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6" name="Freeform 3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6372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0982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3232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8" name="Freeform 3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3232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09" name="Freeform 3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3240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10" name="Group 362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3232151" y="3622676"/>
            <a:ext cx="417513" cy="201613"/>
            <a:chOff x="912" y="2626"/>
            <a:chExt cx="311" cy="127"/>
          </a:xfrm>
          <a:solidFill>
            <a:schemeClr val="bg1">
              <a:lumMod val="95000"/>
            </a:schemeClr>
          </a:solidFill>
        </p:grpSpPr>
        <p:sp>
          <p:nvSpPr>
            <p:cNvPr id="2411" name="Freeform 36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2" name="Freeform 36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3" name="Freeform 36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14" name="Freeform 3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6880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15" name="Freeform 3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6851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16" name="Group 36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6692901" y="3859214"/>
            <a:ext cx="168275" cy="103187"/>
            <a:chOff x="3481" y="2773"/>
            <a:chExt cx="125" cy="65"/>
          </a:xfrm>
          <a:solidFill>
            <a:schemeClr val="bg1">
              <a:lumMod val="95000"/>
            </a:schemeClr>
          </a:solidFill>
        </p:grpSpPr>
        <p:sp>
          <p:nvSpPr>
            <p:cNvPr id="2417" name="Freeform 36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8" name="Line 370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19" name="Freeform 37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0" name="Freeform 37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1" name="Freeform 37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2" name="Line 374">
              <a:extLst>
                <a:ext uri="{FF2B5EF4-FFF2-40B4-BE49-F238E27FC236}"/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3" name="Freeform 37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4" name="Freeform 37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5" name="Freeform 37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6" name="Freeform 37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27" name="Freeform 37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28" name="Freeform 3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5821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29" name="Freeform 3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5832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30" name="Freeform 3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5934075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31" name="Freeform 3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6081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32" name="Group 38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4865688" y="3136900"/>
            <a:ext cx="80962" cy="82550"/>
            <a:chOff x="2352" y="2343"/>
            <a:chExt cx="65" cy="53"/>
          </a:xfrm>
          <a:solidFill>
            <a:schemeClr val="bg1">
              <a:lumMod val="95000"/>
            </a:schemeClr>
          </a:solidFill>
        </p:grpSpPr>
        <p:sp>
          <p:nvSpPr>
            <p:cNvPr id="2433" name="Freeform 38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4" name="Freeform 38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5" name="Freeform 38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6" name="Freeform 38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7" name="Freeform 38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38" name="Freeform 39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grpSp>
        <p:nvGrpSpPr>
          <p:cNvPr id="2439" name="Group 391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2711451" y="1196976"/>
            <a:ext cx="1897063" cy="1133475"/>
            <a:chOff x="527" y="1110"/>
            <a:chExt cx="1410" cy="709"/>
          </a:xfrm>
          <a:solidFill>
            <a:schemeClr val="bg1">
              <a:lumMod val="95000"/>
            </a:schemeClr>
          </a:solidFill>
        </p:grpSpPr>
        <p:sp>
          <p:nvSpPr>
            <p:cNvPr id="2440" name="Freeform 39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1" name="Freeform 39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2" name="Freeform 39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3" name="Freeform 39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4" name="Freeform 39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5" name="Freeform 39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6" name="Freeform 39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7" name="Freeform 39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8" name="Freeform 40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49" name="Freeform 40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0" name="Freeform 40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1" name="Freeform 40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2" name="Freeform 40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3" name="Freeform 40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4" name="Freeform 40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5" name="Freeform 40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6" name="Freeform 40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7" name="Freeform 40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8" name="Freeform 41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59" name="Freeform 41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0" name="Freeform 41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1" name="Freeform 41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2" name="Freeform 41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3" name="Freeform 41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4" name="Freeform 41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5" name="Freeform 41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6" name="Freeform 41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7" name="Freeform 41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8" name="Freeform 42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69" name="Freeform 42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0" name="Freeform 42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1" name="Freeform 42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2" name="Freeform 424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3" name="Freeform 4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4" name="Freeform 4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5" name="Freeform 42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6" name="Freeform 42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7" name="Freeform 42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8" name="Freeform 43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79" name="Freeform 43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0" name="Freeform 432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1" name="Freeform 433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82" name="Freeform 4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6281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3" name="Freeform 43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6388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4" name="Freeform 43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5878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85" name="Freeform 43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554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486" name="Group 438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3854451" y="4371976"/>
            <a:ext cx="384175" cy="1031875"/>
            <a:chOff x="1589" y="3126"/>
            <a:chExt cx="290" cy="657"/>
          </a:xfrm>
          <a:solidFill>
            <a:schemeClr val="bg1">
              <a:lumMod val="95000"/>
            </a:schemeClr>
          </a:solidFill>
        </p:grpSpPr>
        <p:sp>
          <p:nvSpPr>
            <p:cNvPr id="2487" name="Freeform 4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8" name="Freeform 4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489" name="Freeform 441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490" name="Freeform 4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6564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1" name="Freeform 4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6030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2" name="Freeform 4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5888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3" name="Freeform 4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52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4" name="Freeform 4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046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5" name="Freeform 4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5402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6" name="Freeform 4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5749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7" name="Freeform 4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8201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8" name="Freeform 4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3556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499" name="Freeform 45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5808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0" name="Freeform 45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5840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1" name="Freeform 45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5791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2" name="Freeform 45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5754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3" name="Freeform 45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5726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4" name="Freeform 45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5695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5" name="Freeform 45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6127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6" name="Freeform 45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722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7" name="Freeform 45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536257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8" name="Freeform 46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6443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09" name="Freeform 46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992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0" name="Freeform 46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076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1" name="Freeform 46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5156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2" name="Freeform 46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200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3" name="Freeform 46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322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4" name="Freeform 46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6391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5" name="Freeform 46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6373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6" name="Freeform 46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6672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7" name="Freeform 46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5959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8" name="Freeform 47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6370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19" name="Freeform 47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0" name="Freeform 47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957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1" name="Freeform 47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5664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2" name="Freeform 47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6361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3" name="Freeform 47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5853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4" name="Freeform 47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6172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5" name="Freeform 47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6084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6" name="Freeform 47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821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7" name="Freeform 47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5100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8" name="Freeform 48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6273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29" name="Freeform 48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8837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0" name="Freeform 48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8696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1" name="Freeform 48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8666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2" name="Freeform 48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8612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3" name="Freeform 48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8628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4" name="Freeform 48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6211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5" name="Freeform 48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6354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6" name="Freeform 48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6391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7" name="Freeform 48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6924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8" name="Freeform 49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6834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39" name="Freeform 49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6856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0" name="Freeform 49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7000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1" name="Freeform 49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7054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2" name="Freeform 49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7115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3" name="Freeform 49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7232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4" name="Freeform 49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7759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5" name="Freeform 49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7826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6" name="Freeform 49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7856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7" name="Freeform 49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7627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8" name="Freeform 50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7927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49" name="Freeform 50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8088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0" name="Freeform 50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8048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1" name="Freeform 50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8027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3106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8029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53" name="Freeform 50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199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4" name="Freeform 50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948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5" name="Freeform 50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902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6" name="Freeform 50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8402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7" name="Freeform 50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8696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8" name="Freeform 51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8832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59" name="Freeform 51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8982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0" name="Freeform 51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9032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1" name="Freeform 51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8897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2" name="Freeform 51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8909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3" name="Freeform 51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8896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4" name="Freeform 51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8874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5" name="Freeform 51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8874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6" name="Freeform 51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8628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7" name="Freeform 51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943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8" name="Freeform 52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6392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69" name="Freeform 52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6427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0" name="Freeform 52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6219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1" name="Freeform 52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8524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572" name="Group 524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7315201" y="1889126"/>
            <a:ext cx="671513" cy="384175"/>
            <a:chOff x="4115" y="1551"/>
            <a:chExt cx="504" cy="244"/>
          </a:xfrm>
          <a:solidFill>
            <a:schemeClr val="bg1">
              <a:lumMod val="95000"/>
            </a:schemeClr>
          </a:solidFill>
        </p:grpSpPr>
        <p:sp>
          <p:nvSpPr>
            <p:cNvPr id="2573" name="Freeform 525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74" name="Freeform 52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575" name="Freeform 52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6372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6" name="Freeform 52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5846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7" name="Freeform 52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5586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8" name="Freeform 53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5178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79" name="Freeform 53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5119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0" name="Freeform 53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5094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1" name="Freeform 53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6365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82" name="Freeform 53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8459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grpSp>
        <p:nvGrpSpPr>
          <p:cNvPr id="2583" name="Group 535">
            <a:extLst>
              <a:ext uri="{FF2B5EF4-FFF2-40B4-BE49-F238E27FC236}"/>
            </a:extLst>
          </p:cNvPr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6107113" y="2328863"/>
            <a:ext cx="482600" cy="201612"/>
            <a:chOff x="3289" y="1830"/>
            <a:chExt cx="363" cy="128"/>
          </a:xfrm>
          <a:solidFill>
            <a:schemeClr val="bg1">
              <a:lumMod val="95000"/>
            </a:schemeClr>
          </a:solidFill>
        </p:grpSpPr>
        <p:sp>
          <p:nvSpPr>
            <p:cNvPr id="2584" name="Freeform 536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5" name="Freeform 537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6" name="Freeform 538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7" name="Freeform 539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  <p:sp>
          <p:nvSpPr>
            <p:cNvPr id="2588" name="Freeform 540">
              <a:extLst>
                <a:ext uri="{FF2B5EF4-FFF2-40B4-BE49-F238E27FC236}"/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>
                <a:latin typeface="+mn-lt"/>
                <a:cs typeface="+mn-cs"/>
              </a:endParaRPr>
            </a:p>
          </p:txBody>
        </p:sp>
      </p:grpSp>
      <p:sp>
        <p:nvSpPr>
          <p:cNvPr id="2589" name="Freeform 541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4095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0" name="Freeform 542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8040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1" name="Freeform 543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8128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2" name="Freeform 544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6819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3" name="Freeform 545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5546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9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4" name="Freeform 546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216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5" name="Freeform 547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916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6" name="Freeform 548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6427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7" name="Freeform 549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6570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sp>
        <p:nvSpPr>
          <p:cNvPr id="2598" name="Freeform 550">
            <a:extLst>
              <a:ext uri="{FF2B5EF4-FFF2-40B4-BE49-F238E27FC236}"/>
            </a:extLst>
          </p:cNvPr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6607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CL">
              <a:latin typeface="+mn-lt"/>
              <a:cs typeface="+mn-cs"/>
            </a:endParaRPr>
          </a:p>
        </p:txBody>
      </p:sp>
      <p:pic>
        <p:nvPicPr>
          <p:cNvPr id="31102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84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03" name="CuadroTexto 551"/>
          <p:cNvSpPr txBox="1">
            <a:spLocks noChangeArrowheads="1"/>
          </p:cNvSpPr>
          <p:nvPr/>
        </p:nvSpPr>
        <p:spPr bwMode="auto">
          <a:xfrm>
            <a:off x="1209675" y="1346200"/>
            <a:ext cx="9244013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L" sz="3200" b="1">
                <a:latin typeface="Calibri" pitchFamily="34" charset="0"/>
              </a:rPr>
              <a:t>Financing Growth and Infrastructure Task Force:</a:t>
            </a:r>
          </a:p>
          <a:p>
            <a:pPr algn="ctr"/>
            <a:r>
              <a:rPr lang="es-CL" sz="3200">
                <a:latin typeface="Calibri" pitchFamily="34" charset="0"/>
              </a:rPr>
              <a:t>Great interest of financial sector entities</a:t>
            </a:r>
          </a:p>
          <a:p>
            <a:pPr algn="ctr"/>
            <a:r>
              <a:rPr lang="es-CL" sz="3200">
                <a:latin typeface="Calibri" pitchFamily="34" charset="0"/>
              </a:rPr>
              <a:t>B20 Germany 2017 conclussions </a:t>
            </a:r>
          </a:p>
          <a:p>
            <a:pPr algn="ctr"/>
            <a:r>
              <a:rPr lang="es-CL" sz="3200">
                <a:latin typeface="Calibri" pitchFamily="34" charset="0"/>
              </a:rPr>
              <a:t>Too much financial oriented</a:t>
            </a:r>
          </a:p>
          <a:p>
            <a:pPr algn="ctr"/>
            <a:r>
              <a:rPr lang="es-CL" sz="3200" b="1">
                <a:latin typeface="Calibri" pitchFamily="34" charset="0"/>
              </a:rPr>
              <a:t>Construction representatives should be part</a:t>
            </a:r>
          </a:p>
          <a:p>
            <a:pPr algn="ctr"/>
            <a:r>
              <a:rPr lang="es-CL" sz="3200" b="1">
                <a:latin typeface="Calibri" pitchFamily="34" charset="0"/>
              </a:rPr>
              <a:t>On behalf of the sector interests</a:t>
            </a:r>
          </a:p>
          <a:p>
            <a:pPr algn="ctr"/>
            <a:endParaRPr lang="es-CL" sz="3200" b="1">
              <a:latin typeface="Calibri" pitchFamily="34" charset="0"/>
            </a:endParaRPr>
          </a:p>
          <a:p>
            <a:pPr algn="ctr"/>
            <a:r>
              <a:rPr lang="es-CL" sz="3200" b="1">
                <a:latin typeface="Calibri" pitchFamily="34" charset="0"/>
              </a:rPr>
              <a:t>Thanks to you!!</a:t>
            </a:r>
          </a:p>
          <a:p>
            <a:pPr algn="ctr"/>
            <a:endParaRPr lang="es-CL" sz="32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92188" y="0"/>
            <a:ext cx="10226675" cy="575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6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CuadroTexto 1"/>
          <p:cNvSpPr txBox="1">
            <a:spLocks noChangeArrowheads="1"/>
          </p:cNvSpPr>
          <p:nvPr/>
        </p:nvSpPr>
        <p:spPr bwMode="auto">
          <a:xfrm>
            <a:off x="992188" y="6232525"/>
            <a:ext cx="63341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_tradnl" sz="2400">
                <a:latin typeface="Calibri" pitchFamily="34" charset="0"/>
              </a:rPr>
              <a:t>Un-official B20 Argentina 2018 Draft Presentatio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Imagen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8313" y="0"/>
            <a:ext cx="11385550" cy="608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8" name="Título 4"/>
          <p:cNvSpPr>
            <a:spLocks noGrp="1"/>
          </p:cNvSpPr>
          <p:nvPr>
            <p:ph type="title"/>
          </p:nvPr>
        </p:nvSpPr>
        <p:spPr>
          <a:xfrm>
            <a:off x="858838" y="6176963"/>
            <a:ext cx="10515600" cy="681037"/>
          </a:xfrm>
        </p:spPr>
        <p:txBody>
          <a:bodyPr/>
          <a:lstStyle/>
          <a:p>
            <a:r>
              <a:rPr lang="es-ES_tradnl" sz="1800" smtClean="0"/>
              <a:t>ADEBA: Banks    BCBA: Stock Exchange    CACS: Commerce    CAMARCO: Construction   SRA: Agro     UIA: Industry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1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13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2" name="CuadroTexto 1"/>
          <p:cNvSpPr txBox="1">
            <a:spLocks noChangeArrowheads="1"/>
          </p:cNvSpPr>
          <p:nvPr/>
        </p:nvSpPr>
        <p:spPr bwMode="auto">
          <a:xfrm>
            <a:off x="604838" y="6429375"/>
            <a:ext cx="110013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_tradnl" sz="2400">
                <a:latin typeface="Calibri" pitchFamily="34" charset="0"/>
              </a:rPr>
              <a:t>Knowledge Partner: Not formaly defined yet.                       Surely, MacKinsey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19175"/>
          </a:xfrm>
        </p:spPr>
        <p:txBody>
          <a:bodyPr/>
          <a:lstStyle/>
          <a:p>
            <a:pPr algn="ctr"/>
            <a:r>
              <a:rPr lang="es-ES_tradnl" sz="2800" b="1" smtClean="0"/>
              <a:t>Funes de Rioja at the 31th FIIC Congress. </a:t>
            </a:r>
            <a:br>
              <a:rPr lang="es-ES_tradnl" sz="2800" b="1" smtClean="0"/>
            </a:br>
            <a:r>
              <a:rPr lang="es-ES_tradnl" sz="2800" b="1" smtClean="0"/>
              <a:t>Buenos Aires, October 4th 2017</a:t>
            </a:r>
          </a:p>
        </p:txBody>
      </p:sp>
      <p:pic>
        <p:nvPicPr>
          <p:cNvPr id="21506" name="Marcador de contenido 3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1260475" y="1384300"/>
            <a:ext cx="9571038" cy="4697413"/>
          </a:xfrm>
        </p:spPr>
      </p:pic>
      <p:pic>
        <p:nvPicPr>
          <p:cNvPr id="21507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9" name="Text Box 5"/>
          <p:cNvSpPr txBox="1">
            <a:spLocks noChangeArrowheads="1"/>
          </p:cNvSpPr>
          <p:nvPr/>
        </p:nvSpPr>
        <p:spPr bwMode="auto">
          <a:xfrm>
            <a:off x="1695450" y="6173788"/>
            <a:ext cx="7677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s-ES"/>
              <a:t>Daniel Funes de Rioja B20 - Martín Duhart CII IaDB - Fernando Lago FIIC</a:t>
            </a:r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 smtClean="0"/>
          </a:p>
        </p:txBody>
      </p:sp>
      <p:pic>
        <p:nvPicPr>
          <p:cNvPr id="22530" name="Marcador de contenido 3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82600" y="635000"/>
            <a:ext cx="10690225" cy="5732463"/>
          </a:xfrm>
        </p:spPr>
      </p:pic>
      <p:pic>
        <p:nvPicPr>
          <p:cNvPr id="22531" name="Picture 2" descr="C:\Users\cvial\Google Drive\Cica\logo CIC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36238" y="5749925"/>
            <a:ext cx="1503362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Imagen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1709400" cy="613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6176963"/>
            <a:ext cx="10515600" cy="681037"/>
          </a:xfrm>
        </p:spPr>
        <p:txBody>
          <a:bodyPr>
            <a:normAutofit/>
          </a:bodyPr>
          <a:lstStyle/>
          <a:p>
            <a:r>
              <a:rPr lang="es-ES_tradnl" sz="2400" b="1" smtClean="0"/>
              <a:t>Other Engagement Groups :        </a:t>
            </a:r>
            <a:r>
              <a:rPr lang="es-ES_tradnl" sz="1600" b="1" smtClean="0"/>
              <a:t>Civil Society            Science                   Women</a:t>
            </a:r>
            <a:br>
              <a:rPr lang="es-ES_tradnl" sz="1600" b="1" smtClean="0"/>
            </a:br>
            <a:r>
              <a:rPr lang="es-ES_tradnl" sz="1600" b="1" smtClean="0"/>
              <a:t>                                                                                                          Labour            Think Tanks               Youth</a:t>
            </a:r>
            <a:r>
              <a:rPr lang="es-ES_tradnl" sz="1400" smtClean="0"/>
              <a:t/>
            </a:r>
            <a:br>
              <a:rPr lang="es-ES_tradnl" sz="1400" smtClean="0"/>
            </a:br>
            <a:endParaRPr lang="es-ES_tradnl" sz="1400" smtClean="0"/>
          </a:p>
        </p:txBody>
      </p:sp>
      <p:sp>
        <p:nvSpPr>
          <p:cNvPr id="4" name="Marcador de contenido 3"/>
          <p:cNvSpPr>
            <a:spLocks noGrp="1"/>
          </p:cNvSpPr>
          <p:nvPr>
            <p:ph idx="1"/>
          </p:nvPr>
        </p:nvSpPr>
        <p:spPr>
          <a:xfrm>
            <a:off x="46686" y="1825625"/>
            <a:ext cx="10239654" cy="4351338"/>
          </a:xfrm>
        </p:spPr>
        <p:txBody>
          <a:bodyPr vert="vert270" rtlCol="0">
            <a:normAutofit/>
          </a:bodyPr>
          <a:lstStyle/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dirty="0" smtClean="0"/>
              <a:t>        8 </a:t>
            </a:r>
            <a:r>
              <a:rPr lang="es-ES_tradnl" dirty="0" err="1" smtClean="0"/>
              <a:t>Task</a:t>
            </a:r>
            <a:r>
              <a:rPr lang="es-ES_tradnl" dirty="0" smtClean="0"/>
              <a:t> </a:t>
            </a:r>
            <a:r>
              <a:rPr lang="es-ES_tradnl" dirty="0" err="1" smtClean="0"/>
              <a:t>Forces</a:t>
            </a:r>
            <a:endParaRPr lang="es-ES_tradnl" dirty="0"/>
          </a:p>
        </p:txBody>
      </p:sp>
      <p:sp>
        <p:nvSpPr>
          <p:cNvPr id="5" name="Flecha derecha 4"/>
          <p:cNvSpPr/>
          <p:nvPr/>
        </p:nvSpPr>
        <p:spPr>
          <a:xfrm>
            <a:off x="200025" y="2813050"/>
            <a:ext cx="855663" cy="5635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9709150" y="2835275"/>
            <a:ext cx="2286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s-ES"/>
              <a:t>FGI Cochairs:</a:t>
            </a:r>
          </a:p>
          <a:p>
            <a:r>
              <a:rPr lang="es-ES"/>
              <a:t>E. Elstain (Finance)</a:t>
            </a:r>
          </a:p>
          <a:p>
            <a:r>
              <a:rPr lang="es-ES"/>
              <a:t>F Lago (Infrastr)</a:t>
            </a:r>
            <a:endParaRPr lang="en-US"/>
          </a:p>
        </p:txBody>
      </p:sp>
      <p:sp>
        <p:nvSpPr>
          <p:cNvPr id="23559" name="Rectangle 7"/>
          <p:cNvSpPr>
            <a:spLocks noChangeArrowheads="1"/>
          </p:cNvSpPr>
          <p:nvPr/>
        </p:nvSpPr>
        <p:spPr bwMode="auto">
          <a:xfrm>
            <a:off x="9675813" y="2757488"/>
            <a:ext cx="2184400" cy="10779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560" name="Line 8"/>
          <p:cNvSpPr>
            <a:spLocks noChangeShapeType="1"/>
          </p:cNvSpPr>
          <p:nvPr/>
        </p:nvSpPr>
        <p:spPr bwMode="auto">
          <a:xfrm flipH="1">
            <a:off x="9048750" y="3152775"/>
            <a:ext cx="614363" cy="14288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5</TotalTime>
  <Words>210</Words>
  <Application>Microsoft Office PowerPoint</Application>
  <PresentationFormat>Personalizado</PresentationFormat>
  <Paragraphs>56</Paragraphs>
  <Slides>16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Plantilla de diseño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1" baseType="lpstr">
      <vt:lpstr>Calibri</vt:lpstr>
      <vt:lpstr>Arial</vt:lpstr>
      <vt:lpstr>Calibri Light</vt:lpstr>
      <vt:lpstr>Wingdings</vt:lpstr>
      <vt:lpstr>Tema de Office</vt:lpstr>
      <vt:lpstr>Diapositiva 1</vt:lpstr>
      <vt:lpstr>Diapositiva 2</vt:lpstr>
      <vt:lpstr>Diapositiva 3</vt:lpstr>
      <vt:lpstr>Diapositiva 4</vt:lpstr>
      <vt:lpstr>ADEBA: Banks    BCBA: Stock Exchange    CACS: Commerce    CAMARCO: Construction   SRA: Agro     UIA: Industry</vt:lpstr>
      <vt:lpstr>Diapositiva 6</vt:lpstr>
      <vt:lpstr>Funes de Rioja at the 31th FIIC Congress.  Buenos Aires, October 4th 2017</vt:lpstr>
      <vt:lpstr>Diapositiva 8</vt:lpstr>
      <vt:lpstr>Other Engagement Groups :        Civil Society            Science                   Women                                                                                                           Labour            Think Tanks               Youth 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Victoria Fermani</dc:creator>
  <cp:lastModifiedBy>Lago</cp:lastModifiedBy>
  <cp:revision>20</cp:revision>
  <cp:lastPrinted>2017-11-02T17:53:04Z</cp:lastPrinted>
  <dcterms:created xsi:type="dcterms:W3CDTF">2017-11-02T15:08:37Z</dcterms:created>
  <dcterms:modified xsi:type="dcterms:W3CDTF">2017-11-03T11:46:49Z</dcterms:modified>
</cp:coreProperties>
</file>